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809" r:id="rId2"/>
  </p:sldMasterIdLst>
  <p:notesMasterIdLst>
    <p:notesMasterId r:id="rId23"/>
  </p:notesMasterIdLst>
  <p:handoutMasterIdLst>
    <p:handoutMasterId r:id="rId24"/>
  </p:handoutMasterIdLst>
  <p:sldIdLst>
    <p:sldId id="309" r:id="rId3"/>
    <p:sldId id="305" r:id="rId4"/>
    <p:sldId id="315" r:id="rId5"/>
    <p:sldId id="322" r:id="rId6"/>
    <p:sldId id="317" r:id="rId7"/>
    <p:sldId id="321" r:id="rId8"/>
    <p:sldId id="318" r:id="rId9"/>
    <p:sldId id="323" r:id="rId10"/>
    <p:sldId id="324" r:id="rId11"/>
    <p:sldId id="325" r:id="rId12"/>
    <p:sldId id="327" r:id="rId13"/>
    <p:sldId id="328" r:id="rId14"/>
    <p:sldId id="329" r:id="rId15"/>
    <p:sldId id="326" r:id="rId16"/>
    <p:sldId id="330" r:id="rId17"/>
    <p:sldId id="319" r:id="rId18"/>
    <p:sldId id="302" r:id="rId19"/>
    <p:sldId id="314" r:id="rId20"/>
    <p:sldId id="331" r:id="rId21"/>
    <p:sldId id="313" r:id="rId22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bg1"/>
        </a:solidFill>
        <a:effectDag name="">
          <a:cont type="tree" name="">
            <a:effect ref="fillLine"/>
            <a:outerShdw dist="38100" dir="13500000" algn="br">
              <a:schemeClr val="bg1">
                <a:lumMod val="200000"/>
                <a:satMod val="200000"/>
              </a:schemeClr>
            </a:outerShdw>
          </a:cont>
          <a:cont type="tree" name="">
            <a:effect ref="fillLine"/>
            <a:outerShdw dist="38100" dir="2700000" algn="tl">
              <a:schemeClr val="bg1">
                <a:lumMod val="60000"/>
                <a:satMod val="60000"/>
              </a:schemeClr>
            </a:outerShdw>
          </a:cont>
          <a:effect ref="fillLine"/>
        </a:effectDag>
        <a:latin typeface="Tahom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bg1"/>
        </a:solidFill>
        <a:effectDag name="">
          <a:cont type="tree" name="">
            <a:effect ref="fillLine"/>
            <a:outerShdw dist="38100" dir="13500000" algn="br">
              <a:schemeClr val="bg1">
                <a:lumMod val="200000"/>
                <a:satMod val="200000"/>
              </a:schemeClr>
            </a:outerShdw>
          </a:cont>
          <a:cont type="tree" name="">
            <a:effect ref="fillLine"/>
            <a:outerShdw dist="38100" dir="2700000" algn="tl">
              <a:schemeClr val="bg1">
                <a:lumMod val="60000"/>
                <a:satMod val="60000"/>
              </a:schemeClr>
            </a:outerShdw>
          </a:cont>
          <a:effect ref="fillLine"/>
        </a:effectDag>
        <a:latin typeface="Tahom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bg1"/>
        </a:solidFill>
        <a:effectDag name="">
          <a:cont type="tree" name="">
            <a:effect ref="fillLine"/>
            <a:outerShdw dist="38100" dir="13500000" algn="br">
              <a:schemeClr val="bg1">
                <a:lumMod val="200000"/>
                <a:satMod val="200000"/>
              </a:schemeClr>
            </a:outerShdw>
          </a:cont>
          <a:cont type="tree" name="">
            <a:effect ref="fillLine"/>
            <a:outerShdw dist="38100" dir="2700000" algn="tl">
              <a:schemeClr val="bg1">
                <a:lumMod val="60000"/>
                <a:satMod val="60000"/>
              </a:schemeClr>
            </a:outerShdw>
          </a:cont>
          <a:effect ref="fillLine"/>
        </a:effectDag>
        <a:latin typeface="Tahom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bg1"/>
        </a:solidFill>
        <a:effectDag name="">
          <a:cont type="tree" name="">
            <a:effect ref="fillLine"/>
            <a:outerShdw dist="38100" dir="13500000" algn="br">
              <a:schemeClr val="bg1">
                <a:lumMod val="200000"/>
                <a:satMod val="200000"/>
              </a:schemeClr>
            </a:outerShdw>
          </a:cont>
          <a:cont type="tree" name="">
            <a:effect ref="fillLine"/>
            <a:outerShdw dist="38100" dir="2700000" algn="tl">
              <a:schemeClr val="bg1">
                <a:lumMod val="60000"/>
                <a:satMod val="60000"/>
              </a:schemeClr>
            </a:outerShdw>
          </a:cont>
          <a:effect ref="fillLine"/>
        </a:effectDag>
        <a:latin typeface="Tahom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bg1"/>
        </a:solidFill>
        <a:effectDag name="">
          <a:cont type="tree" name="">
            <a:effect ref="fillLine"/>
            <a:outerShdw dist="38100" dir="13500000" algn="br">
              <a:schemeClr val="bg1">
                <a:lumMod val="200000"/>
                <a:satMod val="200000"/>
              </a:schemeClr>
            </a:outerShdw>
          </a:cont>
          <a:cont type="tree" name="">
            <a:effect ref="fillLine"/>
            <a:outerShdw dist="38100" dir="2700000" algn="tl">
              <a:schemeClr val="bg1">
                <a:lumMod val="60000"/>
                <a:satMod val="60000"/>
              </a:schemeClr>
            </a:outerShdw>
          </a:cont>
          <a:effect ref="fillLine"/>
        </a:effectDag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bg1"/>
        </a:solidFill>
        <a:effectDag name="">
          <a:cont type="tree" name="">
            <a:effect ref="fillLine"/>
            <a:outerShdw dist="38100" dir="13500000" algn="br">
              <a:schemeClr val="bg1">
                <a:lumMod val="200000"/>
                <a:satMod val="200000"/>
              </a:schemeClr>
            </a:outerShdw>
          </a:cont>
          <a:cont type="tree" name="">
            <a:effect ref="fillLine"/>
            <a:outerShdw dist="38100" dir="2700000" algn="tl">
              <a:schemeClr val="bg1">
                <a:lumMod val="60000"/>
                <a:satMod val="60000"/>
              </a:schemeClr>
            </a:outerShdw>
          </a:cont>
          <a:effect ref="fillLine"/>
        </a:effectDag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bg1"/>
        </a:solidFill>
        <a:effectDag name="">
          <a:cont type="tree" name="">
            <a:effect ref="fillLine"/>
            <a:outerShdw dist="38100" dir="13500000" algn="br">
              <a:schemeClr val="bg1">
                <a:lumMod val="200000"/>
                <a:satMod val="200000"/>
              </a:schemeClr>
            </a:outerShdw>
          </a:cont>
          <a:cont type="tree" name="">
            <a:effect ref="fillLine"/>
            <a:outerShdw dist="38100" dir="2700000" algn="tl">
              <a:schemeClr val="bg1">
                <a:lumMod val="60000"/>
                <a:satMod val="60000"/>
              </a:schemeClr>
            </a:outerShdw>
          </a:cont>
          <a:effect ref="fillLine"/>
        </a:effectDag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bg1"/>
        </a:solidFill>
        <a:effectDag name="">
          <a:cont type="tree" name="">
            <a:effect ref="fillLine"/>
            <a:outerShdw dist="38100" dir="13500000" algn="br">
              <a:schemeClr val="bg1">
                <a:lumMod val="200000"/>
                <a:satMod val="200000"/>
              </a:schemeClr>
            </a:outerShdw>
          </a:cont>
          <a:cont type="tree" name="">
            <a:effect ref="fillLine"/>
            <a:outerShdw dist="38100" dir="2700000" algn="tl">
              <a:schemeClr val="bg1">
                <a:lumMod val="60000"/>
                <a:satMod val="60000"/>
              </a:schemeClr>
            </a:outerShdw>
          </a:cont>
          <a:effect ref="fillLine"/>
        </a:effectDag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bg1"/>
        </a:solidFill>
        <a:effectDag name="">
          <a:cont type="tree" name="">
            <a:effect ref="fillLine"/>
            <a:outerShdw dist="38100" dir="13500000" algn="br">
              <a:schemeClr val="bg1">
                <a:lumMod val="200000"/>
                <a:satMod val="200000"/>
              </a:schemeClr>
            </a:outerShdw>
          </a:cont>
          <a:cont type="tree" name="">
            <a:effect ref="fillLine"/>
            <a:outerShdw dist="38100" dir="2700000" algn="tl">
              <a:schemeClr val="bg1">
                <a:lumMod val="60000"/>
                <a:satMod val="60000"/>
              </a:schemeClr>
            </a:outerShdw>
          </a:cont>
          <a:effect ref="fillLine"/>
        </a:effectDag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175D"/>
    <a:srgbClr val="23238D"/>
    <a:srgbClr val="12124A"/>
    <a:srgbClr val="011F51"/>
    <a:srgbClr val="C8E8F7"/>
    <a:srgbClr val="82CEEF"/>
    <a:srgbClr val="FF3300"/>
    <a:srgbClr val="00B4E7"/>
    <a:srgbClr val="009DDF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4" autoAdjust="0"/>
    <p:restoredTop sz="92773" autoAdjust="0"/>
  </p:normalViewPr>
  <p:slideViewPr>
    <p:cSldViewPr>
      <p:cViewPr varScale="1">
        <p:scale>
          <a:sx n="114" d="100"/>
          <a:sy n="114" d="100"/>
        </p:scale>
        <p:origin x="696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288"/>
    </p:cViewPr>
  </p:sorterViewPr>
  <p:notesViewPr>
    <p:cSldViewPr>
      <p:cViewPr varScale="1">
        <p:scale>
          <a:sx n="53" d="100"/>
          <a:sy n="53" d="100"/>
        </p:scale>
        <p:origin x="-2640" y="-90"/>
      </p:cViewPr>
      <p:guideLst>
        <p:guide orient="horz" pos="3223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Planung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2578EFBC-294D-4D02-8A49-3B26B27E4849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Definition</a:t>
          </a:r>
          <a:endParaRPr lang="de-DE" b="1" dirty="0"/>
        </a:p>
      </dgm:t>
    </dgm:pt>
    <dgm:pt modelId="{581FCB1F-D40F-4015-8F6E-118B2DD17C8B}" type="parTrans" cxnId="{E164D9DF-3082-4366-9805-7BB979FEC400}">
      <dgm:prSet/>
      <dgm:spPr/>
      <dgm:t>
        <a:bodyPr/>
        <a:lstStyle/>
        <a:p>
          <a:endParaRPr lang="de-DE"/>
        </a:p>
      </dgm:t>
    </dgm:pt>
    <dgm:pt modelId="{6DF22886-6B90-4034-ABF6-8E2CBF99476C}" type="sibTrans" cxnId="{E164D9DF-3082-4366-9805-7BB979FEC400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5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5"/>
      <dgm:spPr/>
      <dgm:t>
        <a:bodyPr/>
        <a:lstStyle/>
        <a:p>
          <a:endParaRPr lang="de-DE"/>
        </a:p>
      </dgm:t>
    </dgm:pt>
    <dgm:pt modelId="{CCE1CCA9-499E-45B0-B7B7-8681B644818C}" type="pres">
      <dgm:prSet presAssocID="{2578EFBC-294D-4D02-8A49-3B26B27E4849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AB3788D-76C9-459B-B523-9C08E8A49FF5}" type="pres">
      <dgm:prSet presAssocID="{6DF22886-6B90-4034-ABF6-8E2CBF99476C}" presName="sibTrans" presStyleLbl="sibTrans2D1" presStyleIdx="1" presStyleCnt="5"/>
      <dgm:spPr/>
      <dgm:t>
        <a:bodyPr/>
        <a:lstStyle/>
        <a:p>
          <a:endParaRPr lang="de-DE"/>
        </a:p>
      </dgm:t>
    </dgm:pt>
    <dgm:pt modelId="{80CC9A60-193C-4906-B076-CBD238DFA35D}" type="pres">
      <dgm:prSet presAssocID="{6DF22886-6B90-4034-ABF6-8E2CBF99476C}" presName="connectorText" presStyleLbl="sibTrans2D1" presStyleIdx="1" presStyleCnt="5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2" presStyleCnt="5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2" presStyleCnt="5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3" presStyleCnt="5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3" presStyleCnt="5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4" presStyleCnt="5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4" presStyleCnt="5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EFE9759-61B2-4FBD-8260-6C23E0DD0565}" type="presOf" srcId="{C2BA5F46-E46D-4E07-9173-FD920DA6145B}" destId="{1727E6B8-9E97-482E-AA35-379A7E9B043E}" srcOrd="1" destOrd="0" presId="urn:microsoft.com/office/officeart/2005/8/layout/process2"/>
    <dgm:cxn modelId="{B06AAD8D-6B5B-4C6A-AF0B-7948804C223B}" type="presOf" srcId="{1E520B6D-D594-471A-B279-41781FCC2213}" destId="{8E06E9A0-77CC-4E39-A66D-BB6805685496}" srcOrd="1" destOrd="0" presId="urn:microsoft.com/office/officeart/2005/8/layout/process2"/>
    <dgm:cxn modelId="{9F69267D-4ED6-4292-8621-B19CA20E7BF2}" type="presOf" srcId="{6DF22886-6B90-4034-ABF6-8E2CBF99476C}" destId="{80CC9A60-193C-4906-B076-CBD238DFA35D}" srcOrd="1" destOrd="0" presId="urn:microsoft.com/office/officeart/2005/8/layout/process2"/>
    <dgm:cxn modelId="{9DD13B14-B361-41AC-89EF-070453DD0B6F}" type="presOf" srcId="{C2BA5F46-E46D-4E07-9173-FD920DA6145B}" destId="{0D606088-EF79-49D9-96A8-C7CCA3318634}" srcOrd="0" destOrd="0" presId="urn:microsoft.com/office/officeart/2005/8/layout/process2"/>
    <dgm:cxn modelId="{31DEAC6D-FC76-48BC-8044-B4F2E09FDBD7}" type="presOf" srcId="{3BD0B62E-B601-4A14-93A6-31BB4476587F}" destId="{F5F9203A-BBB7-47F5-9EBA-437EDC0EF45F}" srcOrd="0" destOrd="0" presId="urn:microsoft.com/office/officeart/2005/8/layout/process2"/>
    <dgm:cxn modelId="{79F808DB-CE83-412F-952D-82F79FDF3ED7}" type="presOf" srcId="{52EB73AF-5361-4FB8-A095-436681B6C5F2}" destId="{E7FA99CD-830F-4D4A-AABF-1415925CE9DB}" srcOrd="0" destOrd="0" presId="urn:microsoft.com/office/officeart/2005/8/layout/process2"/>
    <dgm:cxn modelId="{7B2FF448-2A12-4433-9ED7-5343A52A0FAB}" type="presOf" srcId="{52EB73AF-5361-4FB8-A095-436681B6C5F2}" destId="{9018E4B0-2DB0-40A8-8D99-A49D96BFB9FA}" srcOrd="1" destOrd="0" presId="urn:microsoft.com/office/officeart/2005/8/layout/process2"/>
    <dgm:cxn modelId="{534F1402-C4A5-4599-93B6-02994DE77A44}" type="presOf" srcId="{6DF22886-6B90-4034-ABF6-8E2CBF99476C}" destId="{EAB3788D-76C9-459B-B523-9C08E8A49FF5}" srcOrd="0" destOrd="0" presId="urn:microsoft.com/office/officeart/2005/8/layout/process2"/>
    <dgm:cxn modelId="{5C487A58-CB4D-4FFC-9910-F888881E19E7}" type="presOf" srcId="{9C52BF91-AB17-45F7-9C8C-B9308903D049}" destId="{C48A6D12-74DF-41B0-8298-8697FB4162C5}" srcOrd="0" destOrd="0" presId="urn:microsoft.com/office/officeart/2005/8/layout/process2"/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61E28594-8668-4193-83BD-EBB9D228E7D4}" srcId="{A39E09DA-B390-48CF-AE7E-411E49542861}" destId="{3BD0B62E-B601-4A14-93A6-31BB4476587F}" srcOrd="3" destOrd="0" parTransId="{26B21DC8-C81E-49DF-A860-26DDF9022549}" sibTransId="{90BB5E9F-040A-4A3B-8ED8-8871ABE24A79}"/>
    <dgm:cxn modelId="{A488B7D0-0B53-44C7-B4F7-10555DF4C88A}" type="presOf" srcId="{D4239A19-979C-498B-869D-2AE9D15E6F87}" destId="{0E44B740-1B9E-4CB8-B767-3B32F9547718}" srcOrd="0" destOrd="0" presId="urn:microsoft.com/office/officeart/2005/8/layout/process2"/>
    <dgm:cxn modelId="{E07D729C-FBC2-4E1C-838E-5AB8D3400BC1}" srcId="{A39E09DA-B390-48CF-AE7E-411E49542861}" destId="{C2370C4C-E97A-4663-8898-B53C68943C96}" srcOrd="4" destOrd="0" parTransId="{EB337CD1-9AFE-484F-B17D-3279682B3E68}" sibTransId="{C2BA5F46-E46D-4E07-9173-FD920DA6145B}"/>
    <dgm:cxn modelId="{E164D9DF-3082-4366-9805-7BB979FEC400}" srcId="{A39E09DA-B390-48CF-AE7E-411E49542861}" destId="{2578EFBC-294D-4D02-8A49-3B26B27E4849}" srcOrd="1" destOrd="0" parTransId="{581FCB1F-D40F-4015-8F6E-118B2DD17C8B}" sibTransId="{6DF22886-6B90-4034-ABF6-8E2CBF99476C}"/>
    <dgm:cxn modelId="{B855578F-5D49-45BA-B390-902F33456317}" type="presOf" srcId="{2578EFBC-294D-4D02-8A49-3B26B27E4849}" destId="{CCE1CCA9-499E-45B0-B7B7-8681B644818C}" srcOrd="0" destOrd="0" presId="urn:microsoft.com/office/officeart/2005/8/layout/process2"/>
    <dgm:cxn modelId="{CE9C2021-BA31-4AB9-A983-CC0C77427B7D}" type="presOf" srcId="{90BB5E9F-040A-4A3B-8ED8-8871ABE24A79}" destId="{3A830B4C-5B8A-484E-AD71-9ACA671B1CBC}" srcOrd="0" destOrd="0" presId="urn:microsoft.com/office/officeart/2005/8/layout/process2"/>
    <dgm:cxn modelId="{8769C07A-C126-4E35-8C47-ED6C08256818}" type="presOf" srcId="{D9565401-D0E6-460E-9F97-7929E4EA4294}" destId="{F3DCC770-3F4E-4968-A0C7-91F43B39F43C}" srcOrd="0" destOrd="0" presId="urn:microsoft.com/office/officeart/2005/8/layout/process2"/>
    <dgm:cxn modelId="{7E4B46A1-F096-44E7-990E-A9AD0ACA955A}" type="presOf" srcId="{90BB5E9F-040A-4A3B-8ED8-8871ABE24A79}" destId="{394AB1A3-AFC2-4DC1-9DFF-F05E98A7FA42}" srcOrd="1" destOrd="0" presId="urn:microsoft.com/office/officeart/2005/8/layout/process2"/>
    <dgm:cxn modelId="{4AFBAFC6-89E7-4750-BD16-D16A504A3F15}" type="presOf" srcId="{A39E09DA-B390-48CF-AE7E-411E49542861}" destId="{4BD8B572-E686-4045-A274-CBB8286508B2}" srcOrd="0" destOrd="0" presId="urn:microsoft.com/office/officeart/2005/8/layout/process2"/>
    <dgm:cxn modelId="{C8E7E6F1-E8D4-42B8-99B0-D525C673055C}" type="presOf" srcId="{1E520B6D-D594-471A-B279-41781FCC2213}" destId="{7A24FD23-61FA-41E6-BA99-3B239E60B8EB}" srcOrd="0" destOrd="0" presId="urn:microsoft.com/office/officeart/2005/8/layout/process2"/>
    <dgm:cxn modelId="{B72B16E5-348A-4B7E-AC13-7AAC99AFD22D}" srcId="{A39E09DA-B390-48CF-AE7E-411E49542861}" destId="{9C52BF91-AB17-45F7-9C8C-B9308903D049}" srcOrd="2" destOrd="0" parTransId="{A6DAA37C-434A-4B12-9AB6-278BA08EA2AD}" sibTransId="{52EB73AF-5361-4FB8-A095-436681B6C5F2}"/>
    <dgm:cxn modelId="{F4A5083A-CC7C-4599-B704-B92C3B77CA0E}" type="presOf" srcId="{C2370C4C-E97A-4663-8898-B53C68943C96}" destId="{584DF5FE-1B17-4546-9398-683EDF1402AF}" srcOrd="0" destOrd="0" presId="urn:microsoft.com/office/officeart/2005/8/layout/process2"/>
    <dgm:cxn modelId="{FF8E3C5F-A2DF-4F8A-90CB-4C0C67482949}" srcId="{A39E09DA-B390-48CF-AE7E-411E49542861}" destId="{D9565401-D0E6-460E-9F97-7929E4EA4294}" srcOrd="5" destOrd="0" parTransId="{785FF9A0-4893-4464-AD15-1718737B9F44}" sibTransId="{E218B665-E6B1-4E83-BA6C-66F0BB30CB2A}"/>
    <dgm:cxn modelId="{7516256B-A032-4535-9E90-DE9B338B7DDE}" type="presParOf" srcId="{4BD8B572-E686-4045-A274-CBB8286508B2}" destId="{0E44B740-1B9E-4CB8-B767-3B32F9547718}" srcOrd="0" destOrd="0" presId="urn:microsoft.com/office/officeart/2005/8/layout/process2"/>
    <dgm:cxn modelId="{AEBD97A6-E716-46BD-AE89-53EF655C8167}" type="presParOf" srcId="{4BD8B572-E686-4045-A274-CBB8286508B2}" destId="{7A24FD23-61FA-41E6-BA99-3B239E60B8EB}" srcOrd="1" destOrd="0" presId="urn:microsoft.com/office/officeart/2005/8/layout/process2"/>
    <dgm:cxn modelId="{23D3697C-2469-4AF9-BEF2-C100423678CC}" type="presParOf" srcId="{7A24FD23-61FA-41E6-BA99-3B239E60B8EB}" destId="{8E06E9A0-77CC-4E39-A66D-BB6805685496}" srcOrd="0" destOrd="0" presId="urn:microsoft.com/office/officeart/2005/8/layout/process2"/>
    <dgm:cxn modelId="{927B3635-69C0-4086-9E6A-35F153350C27}" type="presParOf" srcId="{4BD8B572-E686-4045-A274-CBB8286508B2}" destId="{CCE1CCA9-499E-45B0-B7B7-8681B644818C}" srcOrd="2" destOrd="0" presId="urn:microsoft.com/office/officeart/2005/8/layout/process2"/>
    <dgm:cxn modelId="{A0F5F8AB-6B1B-42DC-8052-6909F6D91B16}" type="presParOf" srcId="{4BD8B572-E686-4045-A274-CBB8286508B2}" destId="{EAB3788D-76C9-459B-B523-9C08E8A49FF5}" srcOrd="3" destOrd="0" presId="urn:microsoft.com/office/officeart/2005/8/layout/process2"/>
    <dgm:cxn modelId="{63390111-60AA-4A9D-942E-83F1C5B95350}" type="presParOf" srcId="{EAB3788D-76C9-459B-B523-9C08E8A49FF5}" destId="{80CC9A60-193C-4906-B076-CBD238DFA35D}" srcOrd="0" destOrd="0" presId="urn:microsoft.com/office/officeart/2005/8/layout/process2"/>
    <dgm:cxn modelId="{7A110A3D-3110-4EE6-9F94-ABE2CC8C4B5F}" type="presParOf" srcId="{4BD8B572-E686-4045-A274-CBB8286508B2}" destId="{C48A6D12-74DF-41B0-8298-8697FB4162C5}" srcOrd="4" destOrd="0" presId="urn:microsoft.com/office/officeart/2005/8/layout/process2"/>
    <dgm:cxn modelId="{48CDD21C-3F10-456D-A2E9-6769A3B53021}" type="presParOf" srcId="{4BD8B572-E686-4045-A274-CBB8286508B2}" destId="{E7FA99CD-830F-4D4A-AABF-1415925CE9DB}" srcOrd="5" destOrd="0" presId="urn:microsoft.com/office/officeart/2005/8/layout/process2"/>
    <dgm:cxn modelId="{DE77B7EC-F2D3-4B8A-A4AF-1CF1EF94193C}" type="presParOf" srcId="{E7FA99CD-830F-4D4A-AABF-1415925CE9DB}" destId="{9018E4B0-2DB0-40A8-8D99-A49D96BFB9FA}" srcOrd="0" destOrd="0" presId="urn:microsoft.com/office/officeart/2005/8/layout/process2"/>
    <dgm:cxn modelId="{6E54483C-34EC-4DC9-820C-583355BBA58D}" type="presParOf" srcId="{4BD8B572-E686-4045-A274-CBB8286508B2}" destId="{F5F9203A-BBB7-47F5-9EBA-437EDC0EF45F}" srcOrd="6" destOrd="0" presId="urn:microsoft.com/office/officeart/2005/8/layout/process2"/>
    <dgm:cxn modelId="{AB5B85AC-E02C-4BB7-8D97-DBC427C8D07B}" type="presParOf" srcId="{4BD8B572-E686-4045-A274-CBB8286508B2}" destId="{3A830B4C-5B8A-484E-AD71-9ACA671B1CBC}" srcOrd="7" destOrd="0" presId="urn:microsoft.com/office/officeart/2005/8/layout/process2"/>
    <dgm:cxn modelId="{64220ECD-8652-4D79-A53B-166071B1A4FB}" type="presParOf" srcId="{3A830B4C-5B8A-484E-AD71-9ACA671B1CBC}" destId="{394AB1A3-AFC2-4DC1-9DFF-F05E98A7FA42}" srcOrd="0" destOrd="0" presId="urn:microsoft.com/office/officeart/2005/8/layout/process2"/>
    <dgm:cxn modelId="{983A3B7E-D18B-4978-8CE2-AFC8C63DFCAE}" type="presParOf" srcId="{4BD8B572-E686-4045-A274-CBB8286508B2}" destId="{584DF5FE-1B17-4546-9398-683EDF1402AF}" srcOrd="8" destOrd="0" presId="urn:microsoft.com/office/officeart/2005/8/layout/process2"/>
    <dgm:cxn modelId="{BCD4BD2E-B25F-4E60-B8FA-F40DECE82146}" type="presParOf" srcId="{4BD8B572-E686-4045-A274-CBB8286508B2}" destId="{0D606088-EF79-49D9-96A8-C7CCA3318634}" srcOrd="9" destOrd="0" presId="urn:microsoft.com/office/officeart/2005/8/layout/process2"/>
    <dgm:cxn modelId="{29C7BFF4-E87C-4ADF-BF53-5BA4395FFBD7}" type="presParOf" srcId="{0D606088-EF79-49D9-96A8-C7CCA3318634}" destId="{1727E6B8-9E97-482E-AA35-379A7E9B043E}" srcOrd="0" destOrd="0" presId="urn:microsoft.com/office/officeart/2005/8/layout/process2"/>
    <dgm:cxn modelId="{351680E5-A302-453C-885A-CE5699A52F29}" type="presParOf" srcId="{4BD8B572-E686-4045-A274-CBB8286508B2}" destId="{F3DCC770-3F4E-4968-A0C7-91F43B39F43C}" srcOrd="10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9E28344-CC8E-41C4-9044-28691EF605FD}" type="presOf" srcId="{C2BA5F46-E46D-4E07-9173-FD920DA6145B}" destId="{0D606088-EF79-49D9-96A8-C7CCA3318634}" srcOrd="0" destOrd="0" presId="urn:microsoft.com/office/officeart/2005/8/layout/process2"/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07CFA1F3-FDD3-40AE-AA42-2E63C62EBAF7}" type="presOf" srcId="{9C52BF91-AB17-45F7-9C8C-B9308903D049}" destId="{C48A6D12-74DF-41B0-8298-8697FB4162C5}" srcOrd="0" destOrd="0" presId="urn:microsoft.com/office/officeart/2005/8/layout/process2"/>
    <dgm:cxn modelId="{97E6B287-76A0-41BF-A43D-6DCD61B13ADB}" type="presOf" srcId="{90BB5E9F-040A-4A3B-8ED8-8871ABE24A79}" destId="{3A830B4C-5B8A-484E-AD71-9ACA671B1CBC}" srcOrd="0" destOrd="0" presId="urn:microsoft.com/office/officeart/2005/8/layout/process2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152E9B07-2C6A-48CF-B41D-B45CFC4B6DC0}" type="presOf" srcId="{52EB73AF-5361-4FB8-A095-436681B6C5F2}" destId="{E7FA99CD-830F-4D4A-AABF-1415925CE9DB}" srcOrd="0" destOrd="0" presId="urn:microsoft.com/office/officeart/2005/8/layout/process2"/>
    <dgm:cxn modelId="{6640BF36-660A-406E-A19D-E93D13CC86E2}" type="presOf" srcId="{3BD0B62E-B601-4A14-93A6-31BB4476587F}" destId="{F5F9203A-BBB7-47F5-9EBA-437EDC0EF45F}" srcOrd="0" destOrd="0" presId="urn:microsoft.com/office/officeart/2005/8/layout/process2"/>
    <dgm:cxn modelId="{915A98B3-1965-4403-B26D-4CB0C02CD456}" type="presOf" srcId="{D4239A19-979C-498B-869D-2AE9D15E6F87}" destId="{0E44B740-1B9E-4CB8-B767-3B32F9547718}" srcOrd="0" destOrd="0" presId="urn:microsoft.com/office/officeart/2005/8/layout/process2"/>
    <dgm:cxn modelId="{7148A8F3-335F-44FE-97D9-E1250E8FC516}" type="presOf" srcId="{A39E09DA-B390-48CF-AE7E-411E49542861}" destId="{4BD8B572-E686-4045-A274-CBB8286508B2}" srcOrd="0" destOrd="0" presId="urn:microsoft.com/office/officeart/2005/8/layout/process2"/>
    <dgm:cxn modelId="{97F30F7A-7963-4E9D-865B-A557F5865D5A}" type="presOf" srcId="{C2370C4C-E97A-4663-8898-B53C68943C96}" destId="{584DF5FE-1B17-4546-9398-683EDF1402AF}" srcOrd="0" destOrd="0" presId="urn:microsoft.com/office/officeart/2005/8/layout/process2"/>
    <dgm:cxn modelId="{B994C6C8-A22B-4483-A0FE-F320940C0BBB}" type="presOf" srcId="{52EB73AF-5361-4FB8-A095-436681B6C5F2}" destId="{9018E4B0-2DB0-40A8-8D99-A49D96BFB9FA}" srcOrd="1" destOrd="0" presId="urn:microsoft.com/office/officeart/2005/8/layout/process2"/>
    <dgm:cxn modelId="{B74C824F-B763-45BB-AA1D-2F9AE52BBDD2}" type="presOf" srcId="{C2BA5F46-E46D-4E07-9173-FD920DA6145B}" destId="{1727E6B8-9E97-482E-AA35-379A7E9B043E}" srcOrd="1" destOrd="0" presId="urn:microsoft.com/office/officeart/2005/8/layout/process2"/>
    <dgm:cxn modelId="{0AE99AB5-0AE3-4F2A-8D5C-A3F3608FEB5D}" type="presOf" srcId="{90BB5E9F-040A-4A3B-8ED8-8871ABE24A79}" destId="{394AB1A3-AFC2-4DC1-9DFF-F05E98A7FA42}" srcOrd="1" destOrd="0" presId="urn:microsoft.com/office/officeart/2005/8/layout/process2"/>
    <dgm:cxn modelId="{005CA1A6-6459-4D78-B471-7650FD7F5B1C}" type="presOf" srcId="{1E520B6D-D594-471A-B279-41781FCC2213}" destId="{8E06E9A0-77CC-4E39-A66D-BB6805685496}" srcOrd="1" destOrd="0" presId="urn:microsoft.com/office/officeart/2005/8/layout/process2"/>
    <dgm:cxn modelId="{A1EDEAA0-603A-47B5-8BCD-EBC7787EAB20}" type="presOf" srcId="{D9565401-D0E6-460E-9F97-7929E4EA4294}" destId="{F3DCC770-3F4E-4968-A0C7-91F43B39F43C}" srcOrd="0" destOrd="0" presId="urn:microsoft.com/office/officeart/2005/8/layout/process2"/>
    <dgm:cxn modelId="{C38C91AB-4498-46FA-9188-FB08814B39CF}" type="presOf" srcId="{1E520B6D-D594-471A-B279-41781FCC2213}" destId="{7A24FD23-61FA-41E6-BA99-3B239E60B8EB}" srcOrd="0" destOrd="0" presId="urn:microsoft.com/office/officeart/2005/8/layout/process2"/>
    <dgm:cxn modelId="{4C38CE64-9319-4834-A39D-44A48C90B65D}" type="presParOf" srcId="{4BD8B572-E686-4045-A274-CBB8286508B2}" destId="{0E44B740-1B9E-4CB8-B767-3B32F9547718}" srcOrd="0" destOrd="0" presId="urn:microsoft.com/office/officeart/2005/8/layout/process2"/>
    <dgm:cxn modelId="{8B693028-A89E-49BD-A5E3-579C4C7AC6F8}" type="presParOf" srcId="{4BD8B572-E686-4045-A274-CBB8286508B2}" destId="{7A24FD23-61FA-41E6-BA99-3B239E60B8EB}" srcOrd="1" destOrd="0" presId="urn:microsoft.com/office/officeart/2005/8/layout/process2"/>
    <dgm:cxn modelId="{136DD22B-27C6-40F6-B755-A85F5B35D02B}" type="presParOf" srcId="{7A24FD23-61FA-41E6-BA99-3B239E60B8EB}" destId="{8E06E9A0-77CC-4E39-A66D-BB6805685496}" srcOrd="0" destOrd="0" presId="urn:microsoft.com/office/officeart/2005/8/layout/process2"/>
    <dgm:cxn modelId="{248D9D9D-BB75-4B27-B7B2-CFE218185F88}" type="presParOf" srcId="{4BD8B572-E686-4045-A274-CBB8286508B2}" destId="{C48A6D12-74DF-41B0-8298-8697FB4162C5}" srcOrd="2" destOrd="0" presId="urn:microsoft.com/office/officeart/2005/8/layout/process2"/>
    <dgm:cxn modelId="{BF7EE371-9065-437C-8BDB-B20C6819B15B}" type="presParOf" srcId="{4BD8B572-E686-4045-A274-CBB8286508B2}" destId="{E7FA99CD-830F-4D4A-AABF-1415925CE9DB}" srcOrd="3" destOrd="0" presId="urn:microsoft.com/office/officeart/2005/8/layout/process2"/>
    <dgm:cxn modelId="{35EAE10F-6BFE-4E69-A79A-BC438F50AD30}" type="presParOf" srcId="{E7FA99CD-830F-4D4A-AABF-1415925CE9DB}" destId="{9018E4B0-2DB0-40A8-8D99-A49D96BFB9FA}" srcOrd="0" destOrd="0" presId="urn:microsoft.com/office/officeart/2005/8/layout/process2"/>
    <dgm:cxn modelId="{5AEDE4CA-9DC7-4607-9F08-1D15F36F4D15}" type="presParOf" srcId="{4BD8B572-E686-4045-A274-CBB8286508B2}" destId="{F5F9203A-BBB7-47F5-9EBA-437EDC0EF45F}" srcOrd="4" destOrd="0" presId="urn:microsoft.com/office/officeart/2005/8/layout/process2"/>
    <dgm:cxn modelId="{1A502203-B325-4A23-8DE6-EB75AE4A9AA1}" type="presParOf" srcId="{4BD8B572-E686-4045-A274-CBB8286508B2}" destId="{3A830B4C-5B8A-484E-AD71-9ACA671B1CBC}" srcOrd="5" destOrd="0" presId="urn:microsoft.com/office/officeart/2005/8/layout/process2"/>
    <dgm:cxn modelId="{7A26469B-E053-4DD8-A3ED-DF98A80C7358}" type="presParOf" srcId="{3A830B4C-5B8A-484E-AD71-9ACA671B1CBC}" destId="{394AB1A3-AFC2-4DC1-9DFF-F05E98A7FA42}" srcOrd="0" destOrd="0" presId="urn:microsoft.com/office/officeart/2005/8/layout/process2"/>
    <dgm:cxn modelId="{795E8BE3-6EEA-4214-9B6E-3A29F2A6B4C0}" type="presParOf" srcId="{4BD8B572-E686-4045-A274-CBB8286508B2}" destId="{584DF5FE-1B17-4546-9398-683EDF1402AF}" srcOrd="6" destOrd="0" presId="urn:microsoft.com/office/officeart/2005/8/layout/process2"/>
    <dgm:cxn modelId="{CDA26F7C-8CB4-488C-A7C3-59F977BFA4D0}" type="presParOf" srcId="{4BD8B572-E686-4045-A274-CBB8286508B2}" destId="{0D606088-EF79-49D9-96A8-C7CCA3318634}" srcOrd="7" destOrd="0" presId="urn:microsoft.com/office/officeart/2005/8/layout/process2"/>
    <dgm:cxn modelId="{2CCE4554-A4F6-410E-81DD-0ACDA9821786}" type="presParOf" srcId="{0D606088-EF79-49D9-96A8-C7CCA3318634}" destId="{1727E6B8-9E97-482E-AA35-379A7E9B043E}" srcOrd="0" destOrd="0" presId="urn:microsoft.com/office/officeart/2005/8/layout/process2"/>
    <dgm:cxn modelId="{B8373583-21C9-4588-AD0C-928FD9BF7B24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7A6B1FF-24EA-4BD2-BE50-EA4F58659975}" type="presOf" srcId="{52EB73AF-5361-4FB8-A095-436681B6C5F2}" destId="{9018E4B0-2DB0-40A8-8D99-A49D96BFB9FA}" srcOrd="1" destOrd="0" presId="urn:microsoft.com/office/officeart/2005/8/layout/process2"/>
    <dgm:cxn modelId="{70369750-0763-418E-868C-7B7D70413A2F}" type="presOf" srcId="{90BB5E9F-040A-4A3B-8ED8-8871ABE24A79}" destId="{394AB1A3-AFC2-4DC1-9DFF-F05E98A7FA42}" srcOrd="1" destOrd="0" presId="urn:microsoft.com/office/officeart/2005/8/layout/process2"/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25FDE1AE-BEE5-4E65-A4F1-87AB68C31E31}" type="presOf" srcId="{1E520B6D-D594-471A-B279-41781FCC2213}" destId="{8E06E9A0-77CC-4E39-A66D-BB6805685496}" srcOrd="1" destOrd="0" presId="urn:microsoft.com/office/officeart/2005/8/layout/process2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EAD6251B-E225-4F16-ADAB-E1194E070D7F}" type="presOf" srcId="{52EB73AF-5361-4FB8-A095-436681B6C5F2}" destId="{E7FA99CD-830F-4D4A-AABF-1415925CE9DB}" srcOrd="0" destOrd="0" presId="urn:microsoft.com/office/officeart/2005/8/layout/process2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7C2A4EDA-5961-4602-9816-ABE0578CF7AD}" type="presOf" srcId="{C2370C4C-E97A-4663-8898-B53C68943C96}" destId="{584DF5FE-1B17-4546-9398-683EDF1402AF}" srcOrd="0" destOrd="0" presId="urn:microsoft.com/office/officeart/2005/8/layout/process2"/>
    <dgm:cxn modelId="{9C39F08B-71B2-4C79-8799-35198C488F71}" type="presOf" srcId="{9C52BF91-AB17-45F7-9C8C-B9308903D049}" destId="{C48A6D12-74DF-41B0-8298-8697FB4162C5}" srcOrd="0" destOrd="0" presId="urn:microsoft.com/office/officeart/2005/8/layout/process2"/>
    <dgm:cxn modelId="{751E8E01-4CFD-4E26-BCAC-C6F724730895}" type="presOf" srcId="{C2BA5F46-E46D-4E07-9173-FD920DA6145B}" destId="{1727E6B8-9E97-482E-AA35-379A7E9B043E}" srcOrd="1" destOrd="0" presId="urn:microsoft.com/office/officeart/2005/8/layout/process2"/>
    <dgm:cxn modelId="{4598F2EB-7325-46BA-A5D5-1BC25556EBE0}" type="presOf" srcId="{D9565401-D0E6-460E-9F97-7929E4EA4294}" destId="{F3DCC770-3F4E-4968-A0C7-91F43B39F43C}" srcOrd="0" destOrd="0" presId="urn:microsoft.com/office/officeart/2005/8/layout/process2"/>
    <dgm:cxn modelId="{7EAF0502-8FBF-4956-9785-705F4280A07E}" type="presOf" srcId="{D4239A19-979C-498B-869D-2AE9D15E6F87}" destId="{0E44B740-1B9E-4CB8-B767-3B32F9547718}" srcOrd="0" destOrd="0" presId="urn:microsoft.com/office/officeart/2005/8/layout/process2"/>
    <dgm:cxn modelId="{56FA83EF-C67E-4906-AA61-877953BF0099}" type="presOf" srcId="{1E520B6D-D594-471A-B279-41781FCC2213}" destId="{7A24FD23-61FA-41E6-BA99-3B239E60B8EB}" srcOrd="0" destOrd="0" presId="urn:microsoft.com/office/officeart/2005/8/layout/process2"/>
    <dgm:cxn modelId="{C20D424B-5C54-47C5-935B-FF97F0A42856}" type="presOf" srcId="{C2BA5F46-E46D-4E07-9173-FD920DA6145B}" destId="{0D606088-EF79-49D9-96A8-C7CCA3318634}" srcOrd="0" destOrd="0" presId="urn:microsoft.com/office/officeart/2005/8/layout/process2"/>
    <dgm:cxn modelId="{B546B5BD-C657-4C90-82FD-2CBAE2CF6B1D}" type="presOf" srcId="{A39E09DA-B390-48CF-AE7E-411E49542861}" destId="{4BD8B572-E686-4045-A274-CBB8286508B2}" srcOrd="0" destOrd="0" presId="urn:microsoft.com/office/officeart/2005/8/layout/process2"/>
    <dgm:cxn modelId="{655FC8B0-33CB-4CE3-82F5-12F094BEB37A}" type="presOf" srcId="{90BB5E9F-040A-4A3B-8ED8-8871ABE24A79}" destId="{3A830B4C-5B8A-484E-AD71-9ACA671B1CBC}" srcOrd="0" destOrd="0" presId="urn:microsoft.com/office/officeart/2005/8/layout/process2"/>
    <dgm:cxn modelId="{CD64A79A-1BA6-451E-8237-649AACA32EE3}" type="presOf" srcId="{3BD0B62E-B601-4A14-93A6-31BB4476587F}" destId="{F5F9203A-BBB7-47F5-9EBA-437EDC0EF45F}" srcOrd="0" destOrd="0" presId="urn:microsoft.com/office/officeart/2005/8/layout/process2"/>
    <dgm:cxn modelId="{6A844E39-57BA-4FEB-9B25-C5DBE176FC94}" type="presParOf" srcId="{4BD8B572-E686-4045-A274-CBB8286508B2}" destId="{0E44B740-1B9E-4CB8-B767-3B32F9547718}" srcOrd="0" destOrd="0" presId="urn:microsoft.com/office/officeart/2005/8/layout/process2"/>
    <dgm:cxn modelId="{E968F96C-8D0C-4926-9A7F-3B6BDC088F3A}" type="presParOf" srcId="{4BD8B572-E686-4045-A274-CBB8286508B2}" destId="{7A24FD23-61FA-41E6-BA99-3B239E60B8EB}" srcOrd="1" destOrd="0" presId="urn:microsoft.com/office/officeart/2005/8/layout/process2"/>
    <dgm:cxn modelId="{81A6474A-A0E8-42C5-8FB2-5C2F4F39CE1B}" type="presParOf" srcId="{7A24FD23-61FA-41E6-BA99-3B239E60B8EB}" destId="{8E06E9A0-77CC-4E39-A66D-BB6805685496}" srcOrd="0" destOrd="0" presId="urn:microsoft.com/office/officeart/2005/8/layout/process2"/>
    <dgm:cxn modelId="{AFFBBF53-B0E3-40C6-B72A-9ED3E773334D}" type="presParOf" srcId="{4BD8B572-E686-4045-A274-CBB8286508B2}" destId="{C48A6D12-74DF-41B0-8298-8697FB4162C5}" srcOrd="2" destOrd="0" presId="urn:microsoft.com/office/officeart/2005/8/layout/process2"/>
    <dgm:cxn modelId="{82BD9A96-BED7-4ACD-B91D-EBB705C6EDA3}" type="presParOf" srcId="{4BD8B572-E686-4045-A274-CBB8286508B2}" destId="{E7FA99CD-830F-4D4A-AABF-1415925CE9DB}" srcOrd="3" destOrd="0" presId="urn:microsoft.com/office/officeart/2005/8/layout/process2"/>
    <dgm:cxn modelId="{EF3EDC23-0EE3-41E9-96F3-97AA274FACCC}" type="presParOf" srcId="{E7FA99CD-830F-4D4A-AABF-1415925CE9DB}" destId="{9018E4B0-2DB0-40A8-8D99-A49D96BFB9FA}" srcOrd="0" destOrd="0" presId="urn:microsoft.com/office/officeart/2005/8/layout/process2"/>
    <dgm:cxn modelId="{DD69F2DB-984D-4B45-BB9A-90AC41848234}" type="presParOf" srcId="{4BD8B572-E686-4045-A274-CBB8286508B2}" destId="{F5F9203A-BBB7-47F5-9EBA-437EDC0EF45F}" srcOrd="4" destOrd="0" presId="urn:microsoft.com/office/officeart/2005/8/layout/process2"/>
    <dgm:cxn modelId="{DD836D8C-442F-47AC-ACF4-B8DC97C1991E}" type="presParOf" srcId="{4BD8B572-E686-4045-A274-CBB8286508B2}" destId="{3A830B4C-5B8A-484E-AD71-9ACA671B1CBC}" srcOrd="5" destOrd="0" presId="urn:microsoft.com/office/officeart/2005/8/layout/process2"/>
    <dgm:cxn modelId="{9CE500BE-1FBF-4DB9-986D-5DA9D3BB7411}" type="presParOf" srcId="{3A830B4C-5B8A-484E-AD71-9ACA671B1CBC}" destId="{394AB1A3-AFC2-4DC1-9DFF-F05E98A7FA42}" srcOrd="0" destOrd="0" presId="urn:microsoft.com/office/officeart/2005/8/layout/process2"/>
    <dgm:cxn modelId="{1C1AB4C5-AD32-4CFA-95FD-E2D5037FF5BC}" type="presParOf" srcId="{4BD8B572-E686-4045-A274-CBB8286508B2}" destId="{584DF5FE-1B17-4546-9398-683EDF1402AF}" srcOrd="6" destOrd="0" presId="urn:microsoft.com/office/officeart/2005/8/layout/process2"/>
    <dgm:cxn modelId="{4909C099-C269-4585-ACE3-410034530081}" type="presParOf" srcId="{4BD8B572-E686-4045-A274-CBB8286508B2}" destId="{0D606088-EF79-49D9-96A8-C7CCA3318634}" srcOrd="7" destOrd="0" presId="urn:microsoft.com/office/officeart/2005/8/layout/process2"/>
    <dgm:cxn modelId="{0F7A0EB1-70AF-45D8-8901-7408385739A7}" type="presParOf" srcId="{0D606088-EF79-49D9-96A8-C7CCA3318634}" destId="{1727E6B8-9E97-482E-AA35-379A7E9B043E}" srcOrd="0" destOrd="0" presId="urn:microsoft.com/office/officeart/2005/8/layout/process2"/>
    <dgm:cxn modelId="{7E246705-5925-4E1E-9856-641F6EEC9CFF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4BB8985-1A32-4FD7-B9BE-8AA027494804}" type="presOf" srcId="{A39E09DA-B390-48CF-AE7E-411E49542861}" destId="{4BD8B572-E686-4045-A274-CBB8286508B2}" srcOrd="0" destOrd="0" presId="urn:microsoft.com/office/officeart/2005/8/layout/process2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3C148805-83F3-4ED4-A325-284D660B1A52}" type="presOf" srcId="{9C52BF91-AB17-45F7-9C8C-B9308903D049}" destId="{C48A6D12-74DF-41B0-8298-8697FB4162C5}" srcOrd="0" destOrd="0" presId="urn:microsoft.com/office/officeart/2005/8/layout/process2"/>
    <dgm:cxn modelId="{1BA4A8F2-89D8-49B4-8FDB-E526B5D99616}" type="presOf" srcId="{1E520B6D-D594-471A-B279-41781FCC2213}" destId="{7A24FD23-61FA-41E6-BA99-3B239E60B8EB}" srcOrd="0" destOrd="0" presId="urn:microsoft.com/office/officeart/2005/8/layout/process2"/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6F32086D-FC38-4E01-AD95-421C8E6E3039}" type="presOf" srcId="{52EB73AF-5361-4FB8-A095-436681B6C5F2}" destId="{E7FA99CD-830F-4D4A-AABF-1415925CE9DB}" srcOrd="0" destOrd="0" presId="urn:microsoft.com/office/officeart/2005/8/layout/process2"/>
    <dgm:cxn modelId="{EE26C82E-806E-4791-9C82-CEBEDE6AC4E0}" type="presOf" srcId="{1E520B6D-D594-471A-B279-41781FCC2213}" destId="{8E06E9A0-77CC-4E39-A66D-BB6805685496}" srcOrd="1" destOrd="0" presId="urn:microsoft.com/office/officeart/2005/8/layout/process2"/>
    <dgm:cxn modelId="{C920894B-80DA-4B20-AF94-499DBDB97855}" type="presOf" srcId="{90BB5E9F-040A-4A3B-8ED8-8871ABE24A79}" destId="{3A830B4C-5B8A-484E-AD71-9ACA671B1CBC}" srcOrd="0" destOrd="0" presId="urn:microsoft.com/office/officeart/2005/8/layout/process2"/>
    <dgm:cxn modelId="{2ADB4D83-D4E5-4BFC-AC9D-1B94B8363E16}" type="presOf" srcId="{D4239A19-979C-498B-869D-2AE9D15E6F87}" destId="{0E44B740-1B9E-4CB8-B767-3B32F9547718}" srcOrd="0" destOrd="0" presId="urn:microsoft.com/office/officeart/2005/8/layout/process2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3FC724D1-8912-4FD6-B108-E9E2009A3D29}" type="presOf" srcId="{3BD0B62E-B601-4A14-93A6-31BB4476587F}" destId="{F5F9203A-BBB7-47F5-9EBA-437EDC0EF45F}" srcOrd="0" destOrd="0" presId="urn:microsoft.com/office/officeart/2005/8/layout/process2"/>
    <dgm:cxn modelId="{6F16F5A8-46D1-44B6-827F-85FD3BEE328F}" type="presOf" srcId="{52EB73AF-5361-4FB8-A095-436681B6C5F2}" destId="{9018E4B0-2DB0-40A8-8D99-A49D96BFB9FA}" srcOrd="1" destOrd="0" presId="urn:microsoft.com/office/officeart/2005/8/layout/process2"/>
    <dgm:cxn modelId="{A4F86902-F871-409A-A200-6A5764BEFEC0}" type="presOf" srcId="{C2BA5F46-E46D-4E07-9173-FD920DA6145B}" destId="{0D606088-EF79-49D9-96A8-C7CCA3318634}" srcOrd="0" destOrd="0" presId="urn:microsoft.com/office/officeart/2005/8/layout/process2"/>
    <dgm:cxn modelId="{ED8E02FA-DDD2-40F2-9C1B-FC198124D2A2}" type="presOf" srcId="{C2370C4C-E97A-4663-8898-B53C68943C96}" destId="{584DF5FE-1B17-4546-9398-683EDF1402AF}" srcOrd="0" destOrd="0" presId="urn:microsoft.com/office/officeart/2005/8/layout/process2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DEC86489-8527-4C88-A502-D8A2BE1D31FB}" type="presOf" srcId="{D9565401-D0E6-460E-9F97-7929E4EA4294}" destId="{F3DCC770-3F4E-4968-A0C7-91F43B39F43C}" srcOrd="0" destOrd="0" presId="urn:microsoft.com/office/officeart/2005/8/layout/process2"/>
    <dgm:cxn modelId="{2D8F1F86-98FE-4192-A2C1-3D1FF74BA272}" type="presOf" srcId="{C2BA5F46-E46D-4E07-9173-FD920DA6145B}" destId="{1727E6B8-9E97-482E-AA35-379A7E9B043E}" srcOrd="1" destOrd="0" presId="urn:microsoft.com/office/officeart/2005/8/layout/process2"/>
    <dgm:cxn modelId="{A468D06E-C868-47DA-B846-CA2B9B097777}" type="presOf" srcId="{90BB5E9F-040A-4A3B-8ED8-8871ABE24A79}" destId="{394AB1A3-AFC2-4DC1-9DFF-F05E98A7FA42}" srcOrd="1" destOrd="0" presId="urn:microsoft.com/office/officeart/2005/8/layout/process2"/>
    <dgm:cxn modelId="{BE6CF051-7F43-47AE-8272-D60D956D9FF1}" type="presParOf" srcId="{4BD8B572-E686-4045-A274-CBB8286508B2}" destId="{0E44B740-1B9E-4CB8-B767-3B32F9547718}" srcOrd="0" destOrd="0" presId="urn:microsoft.com/office/officeart/2005/8/layout/process2"/>
    <dgm:cxn modelId="{13652FC6-386F-46B3-81E7-1628D6A044FD}" type="presParOf" srcId="{4BD8B572-E686-4045-A274-CBB8286508B2}" destId="{7A24FD23-61FA-41E6-BA99-3B239E60B8EB}" srcOrd="1" destOrd="0" presId="urn:microsoft.com/office/officeart/2005/8/layout/process2"/>
    <dgm:cxn modelId="{53522901-55BD-4BE0-A846-5E9383CC20A7}" type="presParOf" srcId="{7A24FD23-61FA-41E6-BA99-3B239E60B8EB}" destId="{8E06E9A0-77CC-4E39-A66D-BB6805685496}" srcOrd="0" destOrd="0" presId="urn:microsoft.com/office/officeart/2005/8/layout/process2"/>
    <dgm:cxn modelId="{17047DF0-8A6D-4E2B-B9D7-7259FA6896F3}" type="presParOf" srcId="{4BD8B572-E686-4045-A274-CBB8286508B2}" destId="{C48A6D12-74DF-41B0-8298-8697FB4162C5}" srcOrd="2" destOrd="0" presId="urn:microsoft.com/office/officeart/2005/8/layout/process2"/>
    <dgm:cxn modelId="{DE334FC4-D0F7-4BE6-B195-F4AF2689617D}" type="presParOf" srcId="{4BD8B572-E686-4045-A274-CBB8286508B2}" destId="{E7FA99CD-830F-4D4A-AABF-1415925CE9DB}" srcOrd="3" destOrd="0" presId="urn:microsoft.com/office/officeart/2005/8/layout/process2"/>
    <dgm:cxn modelId="{17DBA28D-8820-4F99-BDBE-F86E8A6708F1}" type="presParOf" srcId="{E7FA99CD-830F-4D4A-AABF-1415925CE9DB}" destId="{9018E4B0-2DB0-40A8-8D99-A49D96BFB9FA}" srcOrd="0" destOrd="0" presId="urn:microsoft.com/office/officeart/2005/8/layout/process2"/>
    <dgm:cxn modelId="{FE1BB11C-BBC4-4E99-A300-6E4178CD3DCD}" type="presParOf" srcId="{4BD8B572-E686-4045-A274-CBB8286508B2}" destId="{F5F9203A-BBB7-47F5-9EBA-437EDC0EF45F}" srcOrd="4" destOrd="0" presId="urn:microsoft.com/office/officeart/2005/8/layout/process2"/>
    <dgm:cxn modelId="{B602FD52-9380-443C-A050-7B1B38D5DC66}" type="presParOf" srcId="{4BD8B572-E686-4045-A274-CBB8286508B2}" destId="{3A830B4C-5B8A-484E-AD71-9ACA671B1CBC}" srcOrd="5" destOrd="0" presId="urn:microsoft.com/office/officeart/2005/8/layout/process2"/>
    <dgm:cxn modelId="{E6B9583F-3B69-49C1-A206-4C39054F8FBF}" type="presParOf" srcId="{3A830B4C-5B8A-484E-AD71-9ACA671B1CBC}" destId="{394AB1A3-AFC2-4DC1-9DFF-F05E98A7FA42}" srcOrd="0" destOrd="0" presId="urn:microsoft.com/office/officeart/2005/8/layout/process2"/>
    <dgm:cxn modelId="{42B9D715-E965-4FF6-9FEC-89D6339ABEFB}" type="presParOf" srcId="{4BD8B572-E686-4045-A274-CBB8286508B2}" destId="{584DF5FE-1B17-4546-9398-683EDF1402AF}" srcOrd="6" destOrd="0" presId="urn:microsoft.com/office/officeart/2005/8/layout/process2"/>
    <dgm:cxn modelId="{1BEE98B8-5199-4B43-85F5-0835A1564095}" type="presParOf" srcId="{4BD8B572-E686-4045-A274-CBB8286508B2}" destId="{0D606088-EF79-49D9-96A8-C7CCA3318634}" srcOrd="7" destOrd="0" presId="urn:microsoft.com/office/officeart/2005/8/layout/process2"/>
    <dgm:cxn modelId="{AC355916-D8FB-48E5-9B4E-6D95F31BDF0A}" type="presParOf" srcId="{0D606088-EF79-49D9-96A8-C7CCA3318634}" destId="{1727E6B8-9E97-482E-AA35-379A7E9B043E}" srcOrd="0" destOrd="0" presId="urn:microsoft.com/office/officeart/2005/8/layout/process2"/>
    <dgm:cxn modelId="{A401B16B-5102-4FB2-A9FD-EB268CE561B8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DF69797-AA1D-4E77-8339-87EDF92BF609}" type="presOf" srcId="{90BB5E9F-040A-4A3B-8ED8-8871ABE24A79}" destId="{394AB1A3-AFC2-4DC1-9DFF-F05E98A7FA42}" srcOrd="1" destOrd="0" presId="urn:microsoft.com/office/officeart/2005/8/layout/process2"/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193CF4C3-1C71-4508-926B-7482E1B480A3}" type="presOf" srcId="{1E520B6D-D594-471A-B279-41781FCC2213}" destId="{8E06E9A0-77CC-4E39-A66D-BB6805685496}" srcOrd="1" destOrd="0" presId="urn:microsoft.com/office/officeart/2005/8/layout/process2"/>
    <dgm:cxn modelId="{CEABD7C4-F546-4E27-8BA7-941EBB6E6413}" type="presOf" srcId="{C2BA5F46-E46D-4E07-9173-FD920DA6145B}" destId="{0D606088-EF79-49D9-96A8-C7CCA3318634}" srcOrd="0" destOrd="0" presId="urn:microsoft.com/office/officeart/2005/8/layout/process2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1FFAAC4C-7D44-4700-917A-AF09197E34C4}" type="presOf" srcId="{C2BA5F46-E46D-4E07-9173-FD920DA6145B}" destId="{1727E6B8-9E97-482E-AA35-379A7E9B043E}" srcOrd="1" destOrd="0" presId="urn:microsoft.com/office/officeart/2005/8/layout/process2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1CDC4C9E-6A9F-49F0-B744-49C5D2B080EA}" type="presOf" srcId="{1E520B6D-D594-471A-B279-41781FCC2213}" destId="{7A24FD23-61FA-41E6-BA99-3B239E60B8EB}" srcOrd="0" destOrd="0" presId="urn:microsoft.com/office/officeart/2005/8/layout/process2"/>
    <dgm:cxn modelId="{68ABBE76-0908-4CB1-92BB-E758BD8335E3}" type="presOf" srcId="{A39E09DA-B390-48CF-AE7E-411E49542861}" destId="{4BD8B572-E686-4045-A274-CBB8286508B2}" srcOrd="0" destOrd="0" presId="urn:microsoft.com/office/officeart/2005/8/layout/process2"/>
    <dgm:cxn modelId="{1606D0A0-7560-4B9A-ACDD-53D585ECBA70}" type="presOf" srcId="{90BB5E9F-040A-4A3B-8ED8-8871ABE24A79}" destId="{3A830B4C-5B8A-484E-AD71-9ACA671B1CBC}" srcOrd="0" destOrd="0" presId="urn:microsoft.com/office/officeart/2005/8/layout/process2"/>
    <dgm:cxn modelId="{268EE98C-9968-4B31-B443-85688BB6B327}" type="presOf" srcId="{D4239A19-979C-498B-869D-2AE9D15E6F87}" destId="{0E44B740-1B9E-4CB8-B767-3B32F9547718}" srcOrd="0" destOrd="0" presId="urn:microsoft.com/office/officeart/2005/8/layout/process2"/>
    <dgm:cxn modelId="{710742AC-D9D1-4036-AFA0-8C39E995AC4E}" type="presOf" srcId="{52EB73AF-5361-4FB8-A095-436681B6C5F2}" destId="{9018E4B0-2DB0-40A8-8D99-A49D96BFB9FA}" srcOrd="1" destOrd="0" presId="urn:microsoft.com/office/officeart/2005/8/layout/process2"/>
    <dgm:cxn modelId="{274DC0F7-D1CE-4D6D-AF52-BF0C677F787B}" type="presOf" srcId="{3BD0B62E-B601-4A14-93A6-31BB4476587F}" destId="{F5F9203A-BBB7-47F5-9EBA-437EDC0EF45F}" srcOrd="0" destOrd="0" presId="urn:microsoft.com/office/officeart/2005/8/layout/process2"/>
    <dgm:cxn modelId="{ED8E82C9-95BD-43F5-B8A2-EFEAF3E53A71}" type="presOf" srcId="{9C52BF91-AB17-45F7-9C8C-B9308903D049}" destId="{C48A6D12-74DF-41B0-8298-8697FB4162C5}" srcOrd="0" destOrd="0" presId="urn:microsoft.com/office/officeart/2005/8/layout/process2"/>
    <dgm:cxn modelId="{AC3ED702-68C9-4048-8AC1-2FE1D548EB10}" type="presOf" srcId="{C2370C4C-E97A-4663-8898-B53C68943C96}" destId="{584DF5FE-1B17-4546-9398-683EDF1402AF}" srcOrd="0" destOrd="0" presId="urn:microsoft.com/office/officeart/2005/8/layout/process2"/>
    <dgm:cxn modelId="{5506DC0D-0333-4CDD-8857-882B261924A7}" type="presOf" srcId="{D9565401-D0E6-460E-9F97-7929E4EA4294}" destId="{F3DCC770-3F4E-4968-A0C7-91F43B39F43C}" srcOrd="0" destOrd="0" presId="urn:microsoft.com/office/officeart/2005/8/layout/process2"/>
    <dgm:cxn modelId="{26DA788F-9B8B-47AD-8B5E-F6D63229209B}" type="presOf" srcId="{52EB73AF-5361-4FB8-A095-436681B6C5F2}" destId="{E7FA99CD-830F-4D4A-AABF-1415925CE9DB}" srcOrd="0" destOrd="0" presId="urn:microsoft.com/office/officeart/2005/8/layout/process2"/>
    <dgm:cxn modelId="{E349133B-A47A-413C-8B21-D21EF7C79CF9}" type="presParOf" srcId="{4BD8B572-E686-4045-A274-CBB8286508B2}" destId="{0E44B740-1B9E-4CB8-B767-3B32F9547718}" srcOrd="0" destOrd="0" presId="urn:microsoft.com/office/officeart/2005/8/layout/process2"/>
    <dgm:cxn modelId="{F0C7616B-AA60-41AF-AA3D-A949AC5B6EBB}" type="presParOf" srcId="{4BD8B572-E686-4045-A274-CBB8286508B2}" destId="{7A24FD23-61FA-41E6-BA99-3B239E60B8EB}" srcOrd="1" destOrd="0" presId="urn:microsoft.com/office/officeart/2005/8/layout/process2"/>
    <dgm:cxn modelId="{FD5C6CE1-616E-4F4C-8EC4-E27720B51725}" type="presParOf" srcId="{7A24FD23-61FA-41E6-BA99-3B239E60B8EB}" destId="{8E06E9A0-77CC-4E39-A66D-BB6805685496}" srcOrd="0" destOrd="0" presId="urn:microsoft.com/office/officeart/2005/8/layout/process2"/>
    <dgm:cxn modelId="{58EADB2C-78EE-4818-9739-83189C1E5FCD}" type="presParOf" srcId="{4BD8B572-E686-4045-A274-CBB8286508B2}" destId="{C48A6D12-74DF-41B0-8298-8697FB4162C5}" srcOrd="2" destOrd="0" presId="urn:microsoft.com/office/officeart/2005/8/layout/process2"/>
    <dgm:cxn modelId="{41BFB589-5CC4-43E4-9DC6-6528628DF041}" type="presParOf" srcId="{4BD8B572-E686-4045-A274-CBB8286508B2}" destId="{E7FA99CD-830F-4D4A-AABF-1415925CE9DB}" srcOrd="3" destOrd="0" presId="urn:microsoft.com/office/officeart/2005/8/layout/process2"/>
    <dgm:cxn modelId="{82FA4848-CDC7-4ED2-B158-EB5F093E72E1}" type="presParOf" srcId="{E7FA99CD-830F-4D4A-AABF-1415925CE9DB}" destId="{9018E4B0-2DB0-40A8-8D99-A49D96BFB9FA}" srcOrd="0" destOrd="0" presId="urn:microsoft.com/office/officeart/2005/8/layout/process2"/>
    <dgm:cxn modelId="{4CEE86F2-AD18-4E2C-B563-793C026A8DCE}" type="presParOf" srcId="{4BD8B572-E686-4045-A274-CBB8286508B2}" destId="{F5F9203A-BBB7-47F5-9EBA-437EDC0EF45F}" srcOrd="4" destOrd="0" presId="urn:microsoft.com/office/officeart/2005/8/layout/process2"/>
    <dgm:cxn modelId="{EB0F6285-8BCE-4F6B-8188-2B31E5CE6BDC}" type="presParOf" srcId="{4BD8B572-E686-4045-A274-CBB8286508B2}" destId="{3A830B4C-5B8A-484E-AD71-9ACA671B1CBC}" srcOrd="5" destOrd="0" presId="urn:microsoft.com/office/officeart/2005/8/layout/process2"/>
    <dgm:cxn modelId="{6111078C-143A-49D4-9DC3-A87212C50301}" type="presParOf" srcId="{3A830B4C-5B8A-484E-AD71-9ACA671B1CBC}" destId="{394AB1A3-AFC2-4DC1-9DFF-F05E98A7FA42}" srcOrd="0" destOrd="0" presId="urn:microsoft.com/office/officeart/2005/8/layout/process2"/>
    <dgm:cxn modelId="{E0EE6771-F5F1-46D9-8B79-40B86C14FEC1}" type="presParOf" srcId="{4BD8B572-E686-4045-A274-CBB8286508B2}" destId="{584DF5FE-1B17-4546-9398-683EDF1402AF}" srcOrd="6" destOrd="0" presId="urn:microsoft.com/office/officeart/2005/8/layout/process2"/>
    <dgm:cxn modelId="{9DC0ADB2-A690-4972-AE0A-835D1E70A65E}" type="presParOf" srcId="{4BD8B572-E686-4045-A274-CBB8286508B2}" destId="{0D606088-EF79-49D9-96A8-C7CCA3318634}" srcOrd="7" destOrd="0" presId="urn:microsoft.com/office/officeart/2005/8/layout/process2"/>
    <dgm:cxn modelId="{5A045665-CB37-4D26-AB34-7EA00E8DFD97}" type="presParOf" srcId="{0D606088-EF79-49D9-96A8-C7CCA3318634}" destId="{1727E6B8-9E97-482E-AA35-379A7E9B043E}" srcOrd="0" destOrd="0" presId="urn:microsoft.com/office/officeart/2005/8/layout/process2"/>
    <dgm:cxn modelId="{229A2D98-F626-462A-970F-1A08E5CE5B50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39E09DA-B390-48CF-AE7E-411E49542861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D4239A19-979C-498B-869D-2AE9D15E6F87}">
      <dgm:prSet phldrT="[Text]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Anforderungsdefinition</a:t>
          </a:r>
          <a:endParaRPr lang="de-DE" b="1" dirty="0"/>
        </a:p>
      </dgm:t>
    </dgm:pt>
    <dgm:pt modelId="{B1AA1930-5839-46FE-9379-7780ECAC5616}" type="parTrans" cxnId="{0F46E1CE-2D25-4A83-9986-CCD912E88581}">
      <dgm:prSet/>
      <dgm:spPr/>
      <dgm:t>
        <a:bodyPr/>
        <a:lstStyle/>
        <a:p>
          <a:endParaRPr lang="de-DE"/>
        </a:p>
      </dgm:t>
    </dgm:pt>
    <dgm:pt modelId="{1E520B6D-D594-471A-B279-41781FCC2213}" type="sibTrans" cxnId="{0F46E1CE-2D25-4A83-9986-CCD912E88581}">
      <dgm:prSet/>
      <dgm:spPr/>
      <dgm:t>
        <a:bodyPr/>
        <a:lstStyle/>
        <a:p>
          <a:endParaRPr lang="de-DE" b="1"/>
        </a:p>
      </dgm:t>
    </dgm:pt>
    <dgm:pt modelId="{9C52BF91-AB17-45F7-9C8C-B9308903D049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Entwurf</a:t>
          </a:r>
          <a:endParaRPr lang="de-DE" b="1" dirty="0"/>
        </a:p>
      </dgm:t>
    </dgm:pt>
    <dgm:pt modelId="{A6DAA37C-434A-4B12-9AB6-278BA08EA2AD}" type="parTrans" cxnId="{B72B16E5-348A-4B7E-AC13-7AAC99AFD22D}">
      <dgm:prSet/>
      <dgm:spPr/>
      <dgm:t>
        <a:bodyPr/>
        <a:lstStyle/>
        <a:p>
          <a:endParaRPr lang="de-DE"/>
        </a:p>
      </dgm:t>
    </dgm:pt>
    <dgm:pt modelId="{52EB73AF-5361-4FB8-A095-436681B6C5F2}" type="sibTrans" cxnId="{B72B16E5-348A-4B7E-AC13-7AAC99AFD22D}">
      <dgm:prSet/>
      <dgm:spPr/>
      <dgm:t>
        <a:bodyPr/>
        <a:lstStyle/>
        <a:p>
          <a:endParaRPr lang="de-DE" b="1"/>
        </a:p>
      </dgm:t>
    </dgm:pt>
    <dgm:pt modelId="{3BD0B62E-B601-4A14-93A6-31BB4476587F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mplementierung</a:t>
          </a:r>
          <a:endParaRPr lang="de-DE" b="1" dirty="0"/>
        </a:p>
      </dgm:t>
    </dgm:pt>
    <dgm:pt modelId="{26B21DC8-C81E-49DF-A860-26DDF9022549}" type="parTrans" cxnId="{61E28594-8668-4193-83BD-EBB9D228E7D4}">
      <dgm:prSet/>
      <dgm:spPr/>
      <dgm:t>
        <a:bodyPr/>
        <a:lstStyle/>
        <a:p>
          <a:endParaRPr lang="de-DE"/>
        </a:p>
      </dgm:t>
    </dgm:pt>
    <dgm:pt modelId="{90BB5E9F-040A-4A3B-8ED8-8871ABE24A79}" type="sibTrans" cxnId="{61E28594-8668-4193-83BD-EBB9D228E7D4}">
      <dgm:prSet/>
      <dgm:spPr/>
      <dgm:t>
        <a:bodyPr/>
        <a:lstStyle/>
        <a:p>
          <a:endParaRPr lang="de-DE" b="1"/>
        </a:p>
      </dgm:t>
    </dgm:pt>
    <dgm:pt modelId="{C2370C4C-E97A-4663-8898-B53C68943C96}">
      <dgm:prSet phldrT="[Text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Test</a:t>
          </a:r>
          <a:endParaRPr lang="de-DE" b="1" dirty="0"/>
        </a:p>
      </dgm:t>
    </dgm:pt>
    <dgm:pt modelId="{EB337CD1-9AFE-484F-B17D-3279682B3E68}" type="parTrans" cxnId="{E07D729C-FBC2-4E1C-838E-5AB8D3400BC1}">
      <dgm:prSet/>
      <dgm:spPr/>
      <dgm:t>
        <a:bodyPr/>
        <a:lstStyle/>
        <a:p>
          <a:endParaRPr lang="de-DE"/>
        </a:p>
      </dgm:t>
    </dgm:pt>
    <dgm:pt modelId="{C2BA5F46-E46D-4E07-9173-FD920DA6145B}" type="sibTrans" cxnId="{E07D729C-FBC2-4E1C-838E-5AB8D3400BC1}">
      <dgm:prSet/>
      <dgm:spPr/>
      <dgm:t>
        <a:bodyPr/>
        <a:lstStyle/>
        <a:p>
          <a:endParaRPr lang="de-DE" b="1"/>
        </a:p>
      </dgm:t>
    </dgm:pt>
    <dgm:pt modelId="{D9565401-D0E6-460E-9F97-7929E4EA4294}">
      <dgm:prSet phldrT="[Text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b="1" dirty="0" smtClean="0"/>
            <a:t>Inbetriebnahme/Wartung</a:t>
          </a:r>
          <a:endParaRPr lang="de-DE" b="1" dirty="0"/>
        </a:p>
      </dgm:t>
    </dgm:pt>
    <dgm:pt modelId="{785FF9A0-4893-4464-AD15-1718737B9F44}" type="parTrans" cxnId="{FF8E3C5F-A2DF-4F8A-90CB-4C0C67482949}">
      <dgm:prSet/>
      <dgm:spPr/>
      <dgm:t>
        <a:bodyPr/>
        <a:lstStyle/>
        <a:p>
          <a:endParaRPr lang="de-DE"/>
        </a:p>
      </dgm:t>
    </dgm:pt>
    <dgm:pt modelId="{E218B665-E6B1-4E83-BA6C-66F0BB30CB2A}" type="sibTrans" cxnId="{FF8E3C5F-A2DF-4F8A-90CB-4C0C67482949}">
      <dgm:prSet/>
      <dgm:spPr/>
      <dgm:t>
        <a:bodyPr/>
        <a:lstStyle/>
        <a:p>
          <a:endParaRPr lang="de-DE"/>
        </a:p>
      </dgm:t>
    </dgm:pt>
    <dgm:pt modelId="{4BD8B572-E686-4045-A274-CBB8286508B2}" type="pres">
      <dgm:prSet presAssocID="{A39E09DA-B390-48CF-AE7E-411E49542861}" presName="linearFlow" presStyleCnt="0">
        <dgm:presLayoutVars>
          <dgm:resizeHandles val="exact"/>
        </dgm:presLayoutVars>
      </dgm:prSet>
      <dgm:spPr/>
    </dgm:pt>
    <dgm:pt modelId="{0E44B740-1B9E-4CB8-B767-3B32F9547718}" type="pres">
      <dgm:prSet presAssocID="{D4239A19-979C-498B-869D-2AE9D15E6F8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A24FD23-61FA-41E6-BA99-3B239E60B8EB}" type="pres">
      <dgm:prSet presAssocID="{1E520B6D-D594-471A-B279-41781FCC2213}" presName="sibTrans" presStyleLbl="sibTrans2D1" presStyleIdx="0" presStyleCnt="4"/>
      <dgm:spPr/>
      <dgm:t>
        <a:bodyPr/>
        <a:lstStyle/>
        <a:p>
          <a:endParaRPr lang="de-DE"/>
        </a:p>
      </dgm:t>
    </dgm:pt>
    <dgm:pt modelId="{8E06E9A0-77CC-4E39-A66D-BB6805685496}" type="pres">
      <dgm:prSet presAssocID="{1E520B6D-D594-471A-B279-41781FCC2213}" presName="connectorText" presStyleLbl="sibTrans2D1" presStyleIdx="0" presStyleCnt="4"/>
      <dgm:spPr/>
      <dgm:t>
        <a:bodyPr/>
        <a:lstStyle/>
        <a:p>
          <a:endParaRPr lang="de-DE"/>
        </a:p>
      </dgm:t>
    </dgm:pt>
    <dgm:pt modelId="{C48A6D12-74DF-41B0-8298-8697FB4162C5}" type="pres">
      <dgm:prSet presAssocID="{9C52BF91-AB17-45F7-9C8C-B9308903D04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FA99CD-830F-4D4A-AABF-1415925CE9DB}" type="pres">
      <dgm:prSet presAssocID="{52EB73AF-5361-4FB8-A095-436681B6C5F2}" presName="sibTrans" presStyleLbl="sibTrans2D1" presStyleIdx="1" presStyleCnt="4"/>
      <dgm:spPr/>
      <dgm:t>
        <a:bodyPr/>
        <a:lstStyle/>
        <a:p>
          <a:endParaRPr lang="de-DE"/>
        </a:p>
      </dgm:t>
    </dgm:pt>
    <dgm:pt modelId="{9018E4B0-2DB0-40A8-8D99-A49D96BFB9FA}" type="pres">
      <dgm:prSet presAssocID="{52EB73AF-5361-4FB8-A095-436681B6C5F2}" presName="connectorText" presStyleLbl="sibTrans2D1" presStyleIdx="1" presStyleCnt="4"/>
      <dgm:spPr/>
      <dgm:t>
        <a:bodyPr/>
        <a:lstStyle/>
        <a:p>
          <a:endParaRPr lang="de-DE"/>
        </a:p>
      </dgm:t>
    </dgm:pt>
    <dgm:pt modelId="{F5F9203A-BBB7-47F5-9EBA-437EDC0EF45F}" type="pres">
      <dgm:prSet presAssocID="{3BD0B62E-B601-4A14-93A6-31BB4476587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A830B4C-5B8A-484E-AD71-9ACA671B1CBC}" type="pres">
      <dgm:prSet presAssocID="{90BB5E9F-040A-4A3B-8ED8-8871ABE24A79}" presName="sibTrans" presStyleLbl="sibTrans2D1" presStyleIdx="2" presStyleCnt="4"/>
      <dgm:spPr/>
      <dgm:t>
        <a:bodyPr/>
        <a:lstStyle/>
        <a:p>
          <a:endParaRPr lang="de-DE"/>
        </a:p>
      </dgm:t>
    </dgm:pt>
    <dgm:pt modelId="{394AB1A3-AFC2-4DC1-9DFF-F05E98A7FA42}" type="pres">
      <dgm:prSet presAssocID="{90BB5E9F-040A-4A3B-8ED8-8871ABE24A79}" presName="connectorText" presStyleLbl="sibTrans2D1" presStyleIdx="2" presStyleCnt="4"/>
      <dgm:spPr/>
      <dgm:t>
        <a:bodyPr/>
        <a:lstStyle/>
        <a:p>
          <a:endParaRPr lang="de-DE"/>
        </a:p>
      </dgm:t>
    </dgm:pt>
    <dgm:pt modelId="{584DF5FE-1B17-4546-9398-683EDF1402AF}" type="pres">
      <dgm:prSet presAssocID="{C2370C4C-E97A-4663-8898-B53C68943C9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606088-EF79-49D9-96A8-C7CCA3318634}" type="pres">
      <dgm:prSet presAssocID="{C2BA5F46-E46D-4E07-9173-FD920DA6145B}" presName="sibTrans" presStyleLbl="sibTrans2D1" presStyleIdx="3" presStyleCnt="4"/>
      <dgm:spPr/>
      <dgm:t>
        <a:bodyPr/>
        <a:lstStyle/>
        <a:p>
          <a:endParaRPr lang="de-DE"/>
        </a:p>
      </dgm:t>
    </dgm:pt>
    <dgm:pt modelId="{1727E6B8-9E97-482E-AA35-379A7E9B043E}" type="pres">
      <dgm:prSet presAssocID="{C2BA5F46-E46D-4E07-9173-FD920DA6145B}" presName="connectorText" presStyleLbl="sibTrans2D1" presStyleIdx="3" presStyleCnt="4"/>
      <dgm:spPr/>
      <dgm:t>
        <a:bodyPr/>
        <a:lstStyle/>
        <a:p>
          <a:endParaRPr lang="de-DE"/>
        </a:p>
      </dgm:t>
    </dgm:pt>
    <dgm:pt modelId="{F3DCC770-3F4E-4968-A0C7-91F43B39F43C}" type="pres">
      <dgm:prSet presAssocID="{D9565401-D0E6-460E-9F97-7929E4EA42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58FBFC3-2A01-47C4-B510-F2B5D1C61D72}" type="presOf" srcId="{90BB5E9F-040A-4A3B-8ED8-8871ABE24A79}" destId="{394AB1A3-AFC2-4DC1-9DFF-F05E98A7FA42}" srcOrd="1" destOrd="0" presId="urn:microsoft.com/office/officeart/2005/8/layout/process2"/>
    <dgm:cxn modelId="{B95B64F7-87ED-4D41-90A6-A8A1432C618E}" type="presOf" srcId="{D4239A19-979C-498B-869D-2AE9D15E6F87}" destId="{0E44B740-1B9E-4CB8-B767-3B32F9547718}" srcOrd="0" destOrd="0" presId="urn:microsoft.com/office/officeart/2005/8/layout/process2"/>
    <dgm:cxn modelId="{4990FE45-AA1A-47CF-BD32-4E63CB0505C1}" type="presOf" srcId="{C2BA5F46-E46D-4E07-9173-FD920DA6145B}" destId="{0D606088-EF79-49D9-96A8-C7CCA3318634}" srcOrd="0" destOrd="0" presId="urn:microsoft.com/office/officeart/2005/8/layout/process2"/>
    <dgm:cxn modelId="{FF8E3C5F-A2DF-4F8A-90CB-4C0C67482949}" srcId="{A39E09DA-B390-48CF-AE7E-411E49542861}" destId="{D9565401-D0E6-460E-9F97-7929E4EA4294}" srcOrd="4" destOrd="0" parTransId="{785FF9A0-4893-4464-AD15-1718737B9F44}" sibTransId="{E218B665-E6B1-4E83-BA6C-66F0BB30CB2A}"/>
    <dgm:cxn modelId="{B72B16E5-348A-4B7E-AC13-7AAC99AFD22D}" srcId="{A39E09DA-B390-48CF-AE7E-411E49542861}" destId="{9C52BF91-AB17-45F7-9C8C-B9308903D049}" srcOrd="1" destOrd="0" parTransId="{A6DAA37C-434A-4B12-9AB6-278BA08EA2AD}" sibTransId="{52EB73AF-5361-4FB8-A095-436681B6C5F2}"/>
    <dgm:cxn modelId="{0F46E1CE-2D25-4A83-9986-CCD912E88581}" srcId="{A39E09DA-B390-48CF-AE7E-411E49542861}" destId="{D4239A19-979C-498B-869D-2AE9D15E6F87}" srcOrd="0" destOrd="0" parTransId="{B1AA1930-5839-46FE-9379-7780ECAC5616}" sibTransId="{1E520B6D-D594-471A-B279-41781FCC2213}"/>
    <dgm:cxn modelId="{C6E9FCED-28F5-4683-A7FB-92924AB5BF07}" type="presOf" srcId="{52EB73AF-5361-4FB8-A095-436681B6C5F2}" destId="{E7FA99CD-830F-4D4A-AABF-1415925CE9DB}" srcOrd="0" destOrd="0" presId="urn:microsoft.com/office/officeart/2005/8/layout/process2"/>
    <dgm:cxn modelId="{1A4A34FA-87F5-40D1-A23C-6C812B0822C2}" type="presOf" srcId="{90BB5E9F-040A-4A3B-8ED8-8871ABE24A79}" destId="{3A830B4C-5B8A-484E-AD71-9ACA671B1CBC}" srcOrd="0" destOrd="0" presId="urn:microsoft.com/office/officeart/2005/8/layout/process2"/>
    <dgm:cxn modelId="{D0193572-C2B3-4D95-9B50-6E648EBF5336}" type="presOf" srcId="{9C52BF91-AB17-45F7-9C8C-B9308903D049}" destId="{C48A6D12-74DF-41B0-8298-8697FB4162C5}" srcOrd="0" destOrd="0" presId="urn:microsoft.com/office/officeart/2005/8/layout/process2"/>
    <dgm:cxn modelId="{61E28594-8668-4193-83BD-EBB9D228E7D4}" srcId="{A39E09DA-B390-48CF-AE7E-411E49542861}" destId="{3BD0B62E-B601-4A14-93A6-31BB4476587F}" srcOrd="2" destOrd="0" parTransId="{26B21DC8-C81E-49DF-A860-26DDF9022549}" sibTransId="{90BB5E9F-040A-4A3B-8ED8-8871ABE24A79}"/>
    <dgm:cxn modelId="{ADED1F70-B84A-4DDE-AE02-B3CF89F1C13C}" type="presOf" srcId="{52EB73AF-5361-4FB8-A095-436681B6C5F2}" destId="{9018E4B0-2DB0-40A8-8D99-A49D96BFB9FA}" srcOrd="1" destOrd="0" presId="urn:microsoft.com/office/officeart/2005/8/layout/process2"/>
    <dgm:cxn modelId="{DF880F88-8EB3-42CF-8C51-D982490FA819}" type="presOf" srcId="{3BD0B62E-B601-4A14-93A6-31BB4476587F}" destId="{F5F9203A-BBB7-47F5-9EBA-437EDC0EF45F}" srcOrd="0" destOrd="0" presId="urn:microsoft.com/office/officeart/2005/8/layout/process2"/>
    <dgm:cxn modelId="{E07D729C-FBC2-4E1C-838E-5AB8D3400BC1}" srcId="{A39E09DA-B390-48CF-AE7E-411E49542861}" destId="{C2370C4C-E97A-4663-8898-B53C68943C96}" srcOrd="3" destOrd="0" parTransId="{EB337CD1-9AFE-484F-B17D-3279682B3E68}" sibTransId="{C2BA5F46-E46D-4E07-9173-FD920DA6145B}"/>
    <dgm:cxn modelId="{72B34C71-02F4-42CB-82C9-16DB0A6C6C4D}" type="presOf" srcId="{A39E09DA-B390-48CF-AE7E-411E49542861}" destId="{4BD8B572-E686-4045-A274-CBB8286508B2}" srcOrd="0" destOrd="0" presId="urn:microsoft.com/office/officeart/2005/8/layout/process2"/>
    <dgm:cxn modelId="{DA75D2A7-2DD4-407A-B7A7-C7D9D253264C}" type="presOf" srcId="{C2370C4C-E97A-4663-8898-B53C68943C96}" destId="{584DF5FE-1B17-4546-9398-683EDF1402AF}" srcOrd="0" destOrd="0" presId="urn:microsoft.com/office/officeart/2005/8/layout/process2"/>
    <dgm:cxn modelId="{F35AD27A-CE0D-4A98-91FE-37F57BFF58B0}" type="presOf" srcId="{D9565401-D0E6-460E-9F97-7929E4EA4294}" destId="{F3DCC770-3F4E-4968-A0C7-91F43B39F43C}" srcOrd="0" destOrd="0" presId="urn:microsoft.com/office/officeart/2005/8/layout/process2"/>
    <dgm:cxn modelId="{5F2B3AC0-DCD2-4A85-9304-9516E89A1604}" type="presOf" srcId="{C2BA5F46-E46D-4E07-9173-FD920DA6145B}" destId="{1727E6B8-9E97-482E-AA35-379A7E9B043E}" srcOrd="1" destOrd="0" presId="urn:microsoft.com/office/officeart/2005/8/layout/process2"/>
    <dgm:cxn modelId="{47FC30EA-A951-4C75-9FE2-87C550DBD955}" type="presOf" srcId="{1E520B6D-D594-471A-B279-41781FCC2213}" destId="{7A24FD23-61FA-41E6-BA99-3B239E60B8EB}" srcOrd="0" destOrd="0" presId="urn:microsoft.com/office/officeart/2005/8/layout/process2"/>
    <dgm:cxn modelId="{4ED24C8F-B6D3-49C4-8E8D-C9D73AD5B45D}" type="presOf" srcId="{1E520B6D-D594-471A-B279-41781FCC2213}" destId="{8E06E9A0-77CC-4E39-A66D-BB6805685496}" srcOrd="1" destOrd="0" presId="urn:microsoft.com/office/officeart/2005/8/layout/process2"/>
    <dgm:cxn modelId="{BFBDC58F-F402-41FC-BBC4-A1F2F99D1FD5}" type="presParOf" srcId="{4BD8B572-E686-4045-A274-CBB8286508B2}" destId="{0E44B740-1B9E-4CB8-B767-3B32F9547718}" srcOrd="0" destOrd="0" presId="urn:microsoft.com/office/officeart/2005/8/layout/process2"/>
    <dgm:cxn modelId="{02063A5B-3FCF-4C6F-BC75-1A3B3898C31B}" type="presParOf" srcId="{4BD8B572-E686-4045-A274-CBB8286508B2}" destId="{7A24FD23-61FA-41E6-BA99-3B239E60B8EB}" srcOrd="1" destOrd="0" presId="urn:microsoft.com/office/officeart/2005/8/layout/process2"/>
    <dgm:cxn modelId="{0DBE06FC-331B-4335-B42C-09FF0371DA75}" type="presParOf" srcId="{7A24FD23-61FA-41E6-BA99-3B239E60B8EB}" destId="{8E06E9A0-77CC-4E39-A66D-BB6805685496}" srcOrd="0" destOrd="0" presId="urn:microsoft.com/office/officeart/2005/8/layout/process2"/>
    <dgm:cxn modelId="{242A3545-3268-4C45-943C-8F6D95B9D9DB}" type="presParOf" srcId="{4BD8B572-E686-4045-A274-CBB8286508B2}" destId="{C48A6D12-74DF-41B0-8298-8697FB4162C5}" srcOrd="2" destOrd="0" presId="urn:microsoft.com/office/officeart/2005/8/layout/process2"/>
    <dgm:cxn modelId="{E3568903-8382-4EAC-AE4F-1504D2F0F4F6}" type="presParOf" srcId="{4BD8B572-E686-4045-A274-CBB8286508B2}" destId="{E7FA99CD-830F-4D4A-AABF-1415925CE9DB}" srcOrd="3" destOrd="0" presId="urn:microsoft.com/office/officeart/2005/8/layout/process2"/>
    <dgm:cxn modelId="{8478808D-AE46-498A-AAD1-F9D6524D5C46}" type="presParOf" srcId="{E7FA99CD-830F-4D4A-AABF-1415925CE9DB}" destId="{9018E4B0-2DB0-40A8-8D99-A49D96BFB9FA}" srcOrd="0" destOrd="0" presId="urn:microsoft.com/office/officeart/2005/8/layout/process2"/>
    <dgm:cxn modelId="{2B2D8F2B-09F1-432D-A07C-995C85E2391C}" type="presParOf" srcId="{4BD8B572-E686-4045-A274-CBB8286508B2}" destId="{F5F9203A-BBB7-47F5-9EBA-437EDC0EF45F}" srcOrd="4" destOrd="0" presId="urn:microsoft.com/office/officeart/2005/8/layout/process2"/>
    <dgm:cxn modelId="{FF7613D8-7825-4884-BC64-EAAA5C714318}" type="presParOf" srcId="{4BD8B572-E686-4045-A274-CBB8286508B2}" destId="{3A830B4C-5B8A-484E-AD71-9ACA671B1CBC}" srcOrd="5" destOrd="0" presId="urn:microsoft.com/office/officeart/2005/8/layout/process2"/>
    <dgm:cxn modelId="{1239EE5C-9BF1-4D85-AE73-5AE7C810A398}" type="presParOf" srcId="{3A830B4C-5B8A-484E-AD71-9ACA671B1CBC}" destId="{394AB1A3-AFC2-4DC1-9DFF-F05E98A7FA42}" srcOrd="0" destOrd="0" presId="urn:microsoft.com/office/officeart/2005/8/layout/process2"/>
    <dgm:cxn modelId="{2256D191-7EAC-4748-90B4-3345954D856D}" type="presParOf" srcId="{4BD8B572-E686-4045-A274-CBB8286508B2}" destId="{584DF5FE-1B17-4546-9398-683EDF1402AF}" srcOrd="6" destOrd="0" presId="urn:microsoft.com/office/officeart/2005/8/layout/process2"/>
    <dgm:cxn modelId="{22550C1F-3DEC-40D3-A3CB-6BA66E99CA1F}" type="presParOf" srcId="{4BD8B572-E686-4045-A274-CBB8286508B2}" destId="{0D606088-EF79-49D9-96A8-C7CCA3318634}" srcOrd="7" destOrd="0" presId="urn:microsoft.com/office/officeart/2005/8/layout/process2"/>
    <dgm:cxn modelId="{751F16AF-2BCF-47B5-BB86-076582B71A29}" type="presParOf" srcId="{0D606088-EF79-49D9-96A8-C7CCA3318634}" destId="{1727E6B8-9E97-482E-AA35-379A7E9B043E}" srcOrd="0" destOrd="0" presId="urn:microsoft.com/office/officeart/2005/8/layout/process2"/>
    <dgm:cxn modelId="{867D1337-7D82-4684-A1AD-45A922BF3366}" type="presParOf" srcId="{4BD8B572-E686-4045-A274-CBB8286508B2}" destId="{F3DCC770-3F4E-4968-A0C7-91F43B39F43C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493" tIns="48247" rIns="96493" bIns="48247" numCol="1" anchor="t" anchorCtr="0" compatLnSpc="1">
            <a:prstTxWarp prst="textNoShape">
              <a:avLst/>
            </a:prstTxWarp>
          </a:bodyPr>
          <a:lstStyle>
            <a:lvl1pPr defTabSz="965200">
              <a:defRPr sz="13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r>
              <a:rPr lang="de-DE" dirty="0" smtClean="0"/>
              <a:t>Weitergabe </a:t>
            </a:r>
            <a:r>
              <a:rPr lang="de-DE" dirty="0"/>
              <a:t>oder Vervielfältigung nur mit Genehmigung des Autors</a:t>
            </a:r>
          </a:p>
        </p:txBody>
      </p:sp>
      <p:sp>
        <p:nvSpPr>
          <p:cNvPr id="1187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493" tIns="48247" rIns="96493" bIns="48247" numCol="1" anchor="b" anchorCtr="0" compatLnSpc="1">
            <a:prstTxWarp prst="textNoShape">
              <a:avLst/>
            </a:prstTxWarp>
          </a:bodyPr>
          <a:lstStyle>
            <a:lvl1pPr defTabSz="965200">
              <a:defRPr sz="13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87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19550" y="9721850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493" tIns="48247" rIns="96493" bIns="48247" numCol="1" anchor="b" anchorCtr="0" compatLnSpc="1">
            <a:prstTxWarp prst="textNoShape">
              <a:avLst/>
            </a:prstTxWarp>
          </a:bodyPr>
          <a:lstStyle>
            <a:lvl1pPr algn="r" defTabSz="965200">
              <a:defRPr sz="13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fld id="{89F6080D-010B-4BB8-A880-C44531D4C9A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23557" name="Picture 6" descr="logo_v6-nam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713" y="61913"/>
            <a:ext cx="18446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6007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493" tIns="48247" rIns="96493" bIns="48247" numCol="1" anchor="t" anchorCtr="0" compatLnSpc="1">
            <a:prstTxWarp prst="textNoShape">
              <a:avLst/>
            </a:prstTxWarp>
          </a:bodyPr>
          <a:lstStyle>
            <a:lvl1pPr defTabSz="965200">
              <a:defRPr sz="13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19550" y="0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493" tIns="48247" rIns="96493" bIns="48247" numCol="1" anchor="t" anchorCtr="0" compatLnSpc="1">
            <a:prstTxWarp prst="textNoShape">
              <a:avLst/>
            </a:prstTxWarp>
          </a:bodyPr>
          <a:lstStyle>
            <a:lvl1pPr algn="r" defTabSz="965200">
              <a:defRPr sz="13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8350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493" tIns="48247" rIns="96493" bIns="482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493" tIns="48247" rIns="96493" bIns="48247" numCol="1" anchor="b" anchorCtr="0" compatLnSpc="1">
            <a:prstTxWarp prst="textNoShape">
              <a:avLst/>
            </a:prstTxWarp>
          </a:bodyPr>
          <a:lstStyle>
            <a:lvl1pPr defTabSz="965200">
              <a:defRPr sz="13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19550" y="9721850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493" tIns="48247" rIns="96493" bIns="48247" numCol="1" anchor="b" anchorCtr="0" compatLnSpc="1">
            <a:prstTxWarp prst="textNoShape">
              <a:avLst/>
            </a:prstTxWarp>
          </a:bodyPr>
          <a:lstStyle>
            <a:lvl1pPr algn="r" defTabSz="965200">
              <a:defRPr sz="13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fld id="{0C6D6275-D5B4-459A-B2A3-212CA60D230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71972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10FB1C-AD68-40D8-9CBE-370BA2AB6D59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6683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3568" y="1412776"/>
            <a:ext cx="7772400" cy="930027"/>
          </a:xfrm>
          <a:prstGeom prst="rect">
            <a:avLst/>
          </a:prstGeom>
        </p:spPr>
        <p:txBody>
          <a:bodyPr anchor="ctr"/>
          <a:lstStyle>
            <a:lvl1pPr algn="ctr">
              <a:defRPr sz="4400" b="1" cap="none" baseline="0">
                <a:solidFill>
                  <a:schemeClr val="bg1"/>
                </a:solidFill>
                <a:effectLst>
                  <a:outerShdw blurRad="38100" dist="50800" dir="5400000" algn="t" rotWithShape="0">
                    <a:prstClr val="black">
                      <a:alpha val="40000"/>
                    </a:prstClr>
                  </a:outerShdw>
                </a:effectLst>
                <a:latin typeface="Ubuntu Mono" panose="020B0509030602030204" pitchFamily="49" charset="0"/>
                <a:ea typeface="Roboto Black" panose="02000000000000000000" pitchFamily="2" charset="0"/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674440" y="6093296"/>
            <a:ext cx="4617640" cy="564083"/>
          </a:xfrm>
        </p:spPr>
        <p:txBody>
          <a:bodyPr anchor="t"/>
          <a:lstStyle>
            <a:lvl1pPr marL="0" indent="0" algn="l">
              <a:buNone/>
              <a:defRPr sz="2000" i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Ubuntu Mono" panose="020B0509030602030204" pitchFamily="49" charset="0"/>
                <a:ea typeface="Roboto Condensed" panose="02000000000000000000" pitchFamily="2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err="1" smtClean="0"/>
              <a:t>Presenter</a:t>
            </a:r>
            <a:r>
              <a:rPr lang="de-DE" dirty="0" smtClean="0"/>
              <a:t> Nam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84213" y="2781300"/>
            <a:ext cx="7772400" cy="935038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566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Shel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0" y="908720"/>
            <a:ext cx="8892480" cy="5688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945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528" y="1700808"/>
            <a:ext cx="8229600" cy="2088232"/>
          </a:xfrm>
          <a:prstGeom prst="rect">
            <a:avLst/>
          </a:prstGeom>
        </p:spPr>
        <p:txBody>
          <a:bodyPr/>
          <a:lstStyle>
            <a:lvl1pPr>
              <a:defRPr sz="12000" b="1">
                <a:solidFill>
                  <a:srgbClr val="011F51"/>
                </a:solidFill>
                <a:effectLst>
                  <a:outerShdw blurRad="127000" dist="76200" dir="2700000" sx="104000" sy="104000" algn="tl" rotWithShape="0">
                    <a:prstClr val="black">
                      <a:alpha val="40000"/>
                    </a:prstClr>
                  </a:outerShdw>
                </a:effectLst>
                <a:latin typeface="Ubuntu Mono" panose="020B0509030602030204" pitchFamily="49" charset="0"/>
              </a:defRPr>
            </a:lvl1pPr>
          </a:lstStyle>
          <a:p>
            <a:r>
              <a:rPr lang="en-US" dirty="0" smtClean="0"/>
              <a:t>Dem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221087"/>
            <a:ext cx="8208963" cy="2160241"/>
          </a:xfrm>
        </p:spPr>
        <p:txBody>
          <a:bodyPr/>
          <a:lstStyle>
            <a:lvl1pPr algn="ctr">
              <a:defRPr baseline="0">
                <a:solidFill>
                  <a:srgbClr val="17175D"/>
                </a:solidFill>
              </a:defRPr>
            </a:lvl1pPr>
          </a:lstStyle>
          <a:p>
            <a:pPr lvl="0"/>
            <a:r>
              <a:rPr lang="en-US" dirty="0" smtClean="0"/>
              <a:t>Description of dem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96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60" y="2498973"/>
            <a:ext cx="7772400" cy="1362075"/>
          </a:xfrm>
          <a:prstGeom prst="rect">
            <a:avLst/>
          </a:prstGeom>
          <a:solidFill>
            <a:srgbClr val="FFC00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 sz="3600" b="1" cap="none" baseline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Ubuntu Mono" panose="020B0509030602030204" pitchFamily="49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83568" y="4509120"/>
            <a:ext cx="7772400" cy="1500187"/>
          </a:xfrm>
        </p:spPr>
        <p:txBody>
          <a:bodyPr anchor="t"/>
          <a:lstStyle>
            <a:lvl1pPr marL="0" indent="0" algn="ctr">
              <a:buNone/>
              <a:defRPr sz="20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2636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60" y="2498973"/>
            <a:ext cx="7772400" cy="1362075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228600" dist="101600" dir="2700000" sx="103000" sy="103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 sz="4000" b="1" cap="none" baseline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Ubuntu Mono" panose="020B0509030602030204" pitchFamily="49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83568" y="4509120"/>
            <a:ext cx="7772400" cy="1500187"/>
          </a:xfrm>
        </p:spPr>
        <p:txBody>
          <a:bodyPr/>
          <a:lstStyle>
            <a:lvl1pPr marL="0" indent="0" algn="ctr">
              <a:buNone/>
              <a:defRPr sz="20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5776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ol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1520" y="1916832"/>
            <a:ext cx="8640960" cy="4392488"/>
          </a:xfrm>
        </p:spPr>
        <p:txBody>
          <a:bodyPr/>
          <a:lstStyle>
            <a:lvl1pPr>
              <a:tabLst>
                <a:tab pos="355600" algn="l"/>
                <a:tab pos="723900" algn="l"/>
                <a:tab pos="1168400" algn="l"/>
                <a:tab pos="1612900" algn="l"/>
                <a:tab pos="2057400" algn="l"/>
              </a:tabLst>
              <a:defRPr sz="2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742950" indent="-285750" defTabSz="444500">
              <a:buFont typeface="Arial" pitchFamily="34" charset="0"/>
              <a:buChar char="•"/>
              <a:tabLst>
                <a:tab pos="355600" algn="l"/>
                <a:tab pos="762000" algn="l"/>
                <a:tab pos="1168400" algn="l"/>
                <a:tab pos="1612900" algn="l"/>
                <a:tab pos="2057400" algn="l"/>
              </a:tabLst>
              <a:defRPr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2pPr>
            <a:lvl3pPr marL="1143000" indent="-228600">
              <a:buFont typeface="Arial" pitchFamily="34" charset="0"/>
              <a:buChar char="•"/>
              <a:tabLst>
                <a:tab pos="355600" algn="l"/>
                <a:tab pos="723900" algn="l"/>
                <a:tab pos="1168400" algn="l"/>
                <a:tab pos="1612900" algn="l"/>
                <a:tab pos="2057400" algn="l"/>
              </a:tabLst>
              <a:defRPr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3pPr>
            <a:lvl4pPr marL="1600200" indent="-228600">
              <a:buFont typeface="Arial" pitchFamily="34" charset="0"/>
              <a:buChar char="•"/>
              <a:tabLst>
                <a:tab pos="355600" algn="l"/>
                <a:tab pos="723900" algn="l"/>
                <a:tab pos="1168400" algn="l"/>
                <a:tab pos="1612900" algn="l"/>
                <a:tab pos="2057400" algn="l"/>
              </a:tabLst>
              <a:defRPr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4pPr>
            <a:lvl5pPr marL="2057400" indent="-228600">
              <a:buFont typeface="Arial" pitchFamily="34" charset="0"/>
              <a:buChar char="•"/>
              <a:tabLst>
                <a:tab pos="355600" algn="l"/>
                <a:tab pos="723900" algn="l"/>
                <a:tab pos="1168400" algn="l"/>
                <a:tab pos="1612900" algn="l"/>
                <a:tab pos="2057400" algn="l"/>
              </a:tabLst>
              <a:defRPr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0" y="476672"/>
            <a:ext cx="9144000" cy="792088"/>
          </a:xfrm>
          <a:prstGeom prst="rect">
            <a:avLst/>
          </a:prstGeom>
          <a:solidFill>
            <a:srgbClr val="008080"/>
          </a:solidFill>
        </p:spPr>
        <p:txBody>
          <a:bodyPr lIns="360000" anchor="ctr"/>
          <a:lstStyle>
            <a:lvl1pPr algn="l">
              <a:defRPr sz="3600" b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Ubuntu Mono" panose="020B0509030602030204" pitchFamily="49" charset="0"/>
                <a:cs typeface="Ubuntu Mono" panose="020B0509030602030204" pitchFamily="49" charset="0"/>
              </a:defRPr>
            </a:lvl1pPr>
          </a:lstStyle>
          <a:p>
            <a:r>
              <a:rPr lang="de-DE" dirty="0" smtClean="0"/>
              <a:t>Slide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896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1520" y="1844824"/>
            <a:ext cx="4248472" cy="4464496"/>
          </a:xfrm>
        </p:spPr>
        <p:txBody>
          <a:bodyPr/>
          <a:lstStyle>
            <a:lvl1pPr>
              <a:defRPr sz="2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742950" indent="-285750">
              <a:buFont typeface="Arial" pitchFamily="34" charset="0"/>
              <a:buChar char="•"/>
              <a:defRPr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2pPr>
            <a:lvl3pPr marL="1143000" indent="-228600">
              <a:buFont typeface="Arial" pitchFamily="34" charset="0"/>
              <a:buChar char="•"/>
              <a:defRPr sz="20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3pPr>
            <a:lvl4pPr marL="1600200" indent="-228600">
              <a:buFont typeface="Arial" pitchFamily="34" charset="0"/>
              <a:buChar char="•"/>
              <a:defRPr sz="1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4pPr>
            <a:lvl5pPr marL="2057400" indent="-228600">
              <a:buFont typeface="Arial" pitchFamily="34" charset="0"/>
              <a:buChar char="•"/>
              <a:defRPr sz="1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4008" y="1844824"/>
            <a:ext cx="4248472" cy="4464496"/>
          </a:xfrm>
        </p:spPr>
        <p:txBody>
          <a:bodyPr/>
          <a:lstStyle>
            <a:lvl1pPr>
              <a:defRPr sz="2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742950" indent="-285750">
              <a:buFont typeface="Arial" pitchFamily="34" charset="0"/>
              <a:buChar char="•"/>
              <a:defRPr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2pPr>
            <a:lvl3pPr marL="1143000" indent="-228600">
              <a:buFont typeface="Arial" pitchFamily="34" charset="0"/>
              <a:buChar char="•"/>
              <a:defRPr sz="20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3pPr>
            <a:lvl4pPr marL="1600200" indent="-228600">
              <a:buFont typeface="Arial" pitchFamily="34" charset="0"/>
              <a:buChar char="•"/>
              <a:defRPr sz="1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4pPr>
            <a:lvl5pPr marL="2057400" indent="-228600">
              <a:buFont typeface="Arial" pitchFamily="34" charset="0"/>
              <a:buChar char="•"/>
              <a:defRPr sz="1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0" y="476672"/>
            <a:ext cx="9144000" cy="792088"/>
          </a:xfrm>
          <a:prstGeom prst="rect">
            <a:avLst/>
          </a:prstGeom>
          <a:solidFill>
            <a:srgbClr val="008080"/>
          </a:solidFill>
        </p:spPr>
        <p:txBody>
          <a:bodyPr lIns="360000" anchor="ctr"/>
          <a:lstStyle>
            <a:lvl1pPr algn="l">
              <a:defRPr sz="3600" b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Ubuntu Mono" panose="020B0509030602030204" pitchFamily="49" charset="0"/>
                <a:cs typeface="Ubuntu Mono" panose="020B0509030602030204" pitchFamily="49" charset="0"/>
              </a:defRPr>
            </a:lvl1pPr>
          </a:lstStyle>
          <a:p>
            <a:r>
              <a:rPr lang="de-DE" dirty="0" smtClean="0"/>
              <a:t>Slide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678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1520" y="1916832"/>
            <a:ext cx="8640960" cy="2160240"/>
          </a:xfrm>
        </p:spPr>
        <p:txBody>
          <a:bodyPr/>
          <a:lstStyle>
            <a:lvl1pPr>
              <a:defRPr sz="2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742950" indent="-285750">
              <a:buFont typeface="Arial" pitchFamily="34" charset="0"/>
              <a:buChar char="•"/>
              <a:defRPr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2pPr>
            <a:lvl3pPr>
              <a:defRPr sz="20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3pPr>
            <a:lvl4pPr marL="1600200" indent="-228600">
              <a:buFont typeface="Arial" pitchFamily="34" charset="0"/>
              <a:buChar char="•"/>
              <a:defRPr sz="1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4pPr>
            <a:lvl5pPr marL="2057400" indent="-228600">
              <a:buFont typeface="Arial" pitchFamily="34" charset="0"/>
              <a:buChar char="•"/>
              <a:defRPr sz="1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51520" y="4149080"/>
            <a:ext cx="8640960" cy="2160240"/>
          </a:xfrm>
        </p:spPr>
        <p:txBody>
          <a:bodyPr/>
          <a:lstStyle>
            <a:lvl1pPr>
              <a:defRPr sz="2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marL="742950" indent="-285750">
              <a:buFont typeface="Arial" pitchFamily="34" charset="0"/>
              <a:buChar char="•"/>
              <a:defRPr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2pPr>
            <a:lvl3pPr marL="1143000" indent="-228600">
              <a:buFont typeface="Arial" pitchFamily="34" charset="0"/>
              <a:buChar char="•"/>
              <a:defRPr sz="20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3pPr>
            <a:lvl4pPr marL="1600200" indent="-228600">
              <a:buFont typeface="Arial" pitchFamily="34" charset="0"/>
              <a:buChar char="•"/>
              <a:defRPr sz="1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4pPr>
            <a:lvl5pPr marL="2057400" indent="-228600">
              <a:buFont typeface="Arial" pitchFamily="34" charset="0"/>
              <a:buChar char="•"/>
              <a:defRPr sz="18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0" y="476672"/>
            <a:ext cx="9144000" cy="792088"/>
          </a:xfrm>
          <a:prstGeom prst="rect">
            <a:avLst/>
          </a:prstGeom>
          <a:solidFill>
            <a:srgbClr val="008080"/>
          </a:solidFill>
        </p:spPr>
        <p:txBody>
          <a:bodyPr lIns="360000" anchor="ctr"/>
          <a:lstStyle>
            <a:lvl1pPr algn="l">
              <a:defRPr sz="3600" b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Ubuntu Mono" panose="020B0509030602030204" pitchFamily="49" charset="0"/>
                <a:cs typeface="Ubuntu Mono" panose="020B0509030602030204" pitchFamily="49" charset="0"/>
              </a:defRPr>
            </a:lvl1pPr>
          </a:lstStyle>
          <a:p>
            <a:r>
              <a:rPr lang="de-DE" dirty="0" smtClean="0"/>
              <a:t>Slide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773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ol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0" y="476672"/>
            <a:ext cx="9144000" cy="792088"/>
          </a:xfrm>
          <a:prstGeom prst="rect">
            <a:avLst/>
          </a:prstGeom>
          <a:solidFill>
            <a:srgbClr val="008080"/>
          </a:solidFill>
        </p:spPr>
        <p:txBody>
          <a:bodyPr lIns="360000" anchor="ctr"/>
          <a:lstStyle>
            <a:lvl1pPr algn="l">
              <a:defRPr sz="3600" b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Ubuntu Mono" panose="020B0509030602030204" pitchFamily="49" charset="0"/>
                <a:cs typeface="Ubuntu Mono" panose="020B0509030602030204" pitchFamily="49" charset="0"/>
              </a:defRPr>
            </a:lvl1pPr>
          </a:lstStyle>
          <a:p>
            <a:r>
              <a:rPr lang="de-DE" dirty="0" smtClean="0"/>
              <a:t>Slide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320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Inhalt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8204781" cy="4353347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70906" y="476672"/>
            <a:ext cx="6419056" cy="338554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>
          <a:xfrm>
            <a:off x="470906" y="6236019"/>
            <a:ext cx="6765390" cy="23066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470906" y="6567667"/>
            <a:ext cx="7512424" cy="18466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>
          <a:xfrm>
            <a:off x="8146769" y="6567667"/>
            <a:ext cx="528918" cy="184666"/>
          </a:xfrm>
          <a:prstGeom prst="rect">
            <a:avLst/>
          </a:prstGeom>
        </p:spPr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951691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Bild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525" y="1772816"/>
            <a:ext cx="4038600" cy="4353347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70906" y="1135063"/>
            <a:ext cx="8204781" cy="27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70906" y="476672"/>
            <a:ext cx="6419056" cy="338554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8"/>
          </p:nvPr>
        </p:nvSpPr>
        <p:spPr>
          <a:xfrm>
            <a:off x="4634706" y="1772816"/>
            <a:ext cx="4038600" cy="4353347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470906" y="6236019"/>
            <a:ext cx="6861466" cy="23066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>
          <a:xfrm>
            <a:off x="470906" y="6567667"/>
            <a:ext cx="7512424" cy="18466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PowerShell goes Software Engineering  |  1.0 |  22.04.2016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>
          <a:xfrm>
            <a:off x="8146769" y="6567667"/>
            <a:ext cx="528918" cy="184666"/>
          </a:xfrm>
          <a:prstGeom prst="rect">
            <a:avLst/>
          </a:prstGeom>
        </p:spPr>
        <p:txBody>
          <a:bodyPr/>
          <a:lstStyle/>
          <a:p>
            <a:fld id="{AF911D4A-070B-4C3B-BD2B-33DF91ACF09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4351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4">
                <a:lumMod val="0"/>
                <a:lumOff val="100000"/>
              </a:schemeClr>
            </a:gs>
            <a:gs pos="37000">
              <a:srgbClr val="23238D"/>
            </a:gs>
            <a:gs pos="100000">
              <a:srgbClr val="011F51"/>
            </a:gs>
          </a:gsLst>
          <a:path path="circle">
            <a:fillToRect l="50000" t="-80000" r="50000" b="18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7999"/>
          </a:xfrm>
          <a:prstGeom prst="rect">
            <a:avLst/>
          </a:prstGeom>
        </p:spPr>
      </p:pic>
      <p:sp>
        <p:nvSpPr>
          <p:cNvPr id="22" name="Rechteck 21"/>
          <p:cNvSpPr/>
          <p:nvPr userDrawn="1"/>
        </p:nvSpPr>
        <p:spPr bwMode="auto">
          <a:xfrm>
            <a:off x="0" y="6000750"/>
            <a:ext cx="9144000" cy="8572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6980" name="Text Box 4"/>
          <p:cNvSpPr txBox="1">
            <a:spLocks noChangeArrowheads="1"/>
          </p:cNvSpPr>
          <p:nvPr/>
        </p:nvSpPr>
        <p:spPr bwMode="auto">
          <a:xfrm>
            <a:off x="2362200" y="381000"/>
            <a:ext cx="5638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de-DE" sz="2400">
              <a:solidFill>
                <a:schemeClr val="tx1"/>
              </a:solidFill>
              <a:effectLst/>
            </a:endParaRPr>
          </a:p>
        </p:txBody>
      </p:sp>
      <p:sp>
        <p:nvSpPr>
          <p:cNvPr id="126983" name="Rectangle 7"/>
          <p:cNvSpPr>
            <a:spLocks noChangeArrowheads="1"/>
          </p:cNvSpPr>
          <p:nvPr/>
        </p:nvSpPr>
        <p:spPr bwMode="auto">
          <a:xfrm>
            <a:off x="533400" y="762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de-DE" sz="1200" i="1">
              <a:solidFill>
                <a:schemeClr val="tx1"/>
              </a:solidFill>
              <a:effectLst/>
            </a:endParaRPr>
          </a:p>
        </p:txBody>
      </p:sp>
      <p:sp>
        <p:nvSpPr>
          <p:cNvPr id="205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0663" y="1268760"/>
            <a:ext cx="8694737" cy="4427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Klicken Sie, um die Formate des Vorlagentextes zu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6989" name="Text Box 13"/>
          <p:cNvSpPr txBox="1">
            <a:spLocks noChangeArrowheads="1"/>
          </p:cNvSpPr>
          <p:nvPr/>
        </p:nvSpPr>
        <p:spPr bwMode="auto">
          <a:xfrm>
            <a:off x="2362200" y="381000"/>
            <a:ext cx="5638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de-DE" sz="2400">
              <a:solidFill>
                <a:schemeClr val="tx1"/>
              </a:solidFill>
              <a:effectLst/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940" y="6035434"/>
            <a:ext cx="3459487" cy="69189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4" r:id="rId2"/>
    <p:sldLayoutId id="2147483807" r:id="rId3"/>
    <p:sldLayoutId id="2147483803" r:id="rId4"/>
    <p:sldLayoutId id="2147483801" r:id="rId5"/>
    <p:sldLayoutId id="2147483808" r:id="rId6"/>
    <p:sldLayoutId id="2147483799" r:id="rId7"/>
    <p:sldLayoutId id="2147483812" r:id="rId8"/>
    <p:sldLayoutId id="2147483813" r:id="rId9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ahom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ahom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ahom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ahom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ahoma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ahoma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ahoma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bg1"/>
          </a:solidFill>
          <a:latin typeface="Ubuntu Mono" panose="020B0509030602030204" pitchFamily="49" charset="0"/>
          <a:ea typeface="Roboto" panose="02000000000000000000" pitchFamily="2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bg1"/>
          </a:solidFill>
          <a:latin typeface="Ubuntu Mono" panose="020B0509030602030204" pitchFamily="49" charset="0"/>
          <a:ea typeface="Roboto" panose="02000000000000000000" pitchFamily="2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1"/>
          </a:solidFill>
          <a:latin typeface="Ubuntu Mono" panose="020B0509030602030204" pitchFamily="49" charset="0"/>
          <a:ea typeface="Roboto" panose="02000000000000000000" pitchFamily="2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bg1"/>
          </a:solidFill>
          <a:latin typeface="Ubuntu Mono" panose="020B0509030602030204" pitchFamily="49" charset="0"/>
          <a:ea typeface="Roboto" panose="02000000000000000000" pitchFamily="2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Ubuntu Mono" panose="020B0509030602030204" pitchFamily="49" charset="0"/>
          <a:ea typeface="Roboto" panose="02000000000000000000" pitchFamily="2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4403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980728"/>
            <a:ext cx="8892480" cy="56166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3" y="6093296"/>
            <a:ext cx="2019326" cy="403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643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</p:sldLayoutIdLst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Ubuntu Mono" panose="020B0509030602030204" pitchFamily="49" charset="0"/>
          <a:ea typeface="+mn-ea"/>
          <a:cs typeface="Ubuntu Mono" panose="020B0509030602030204" pitchFamily="49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Ubuntu Mono" panose="020B0509030602030204" pitchFamily="49" charset="0"/>
          <a:ea typeface="+mn-ea"/>
          <a:cs typeface="Ubuntu Mono" panose="020B0509030602030204" pitchFamily="49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Ubuntu Mono" panose="020B0509030602030204" pitchFamily="49" charset="0"/>
          <a:ea typeface="+mn-ea"/>
          <a:cs typeface="Ubuntu Mono" panose="020B0509030602030204" pitchFamily="49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Ubuntu Mono" panose="020B0509030602030204" pitchFamily="49" charset="0"/>
          <a:ea typeface="+mn-ea"/>
          <a:cs typeface="Ubuntu Mono" panose="020B0509030602030204" pitchFamily="49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Ubuntu Mono" panose="020B0509030602030204" pitchFamily="49" charset="0"/>
          <a:ea typeface="+mn-ea"/>
          <a:cs typeface="Ubuntu Mono" panose="020B0509030602030204" pitchFamily="49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5" Type="http://schemas.openxmlformats.org/officeDocument/2006/relationships/hyperlink" Target="mailto:Jan.Lindmeier@gmail.com" TargetMode="External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werShell </a:t>
            </a:r>
            <a:r>
              <a:rPr lang="de-DE" dirty="0" err="1" smtClean="0"/>
              <a:t>goes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Software Engineer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Jan Lindmei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805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smtClean="0"/>
              <a:t>Was heißt das nun?</a:t>
            </a:r>
            <a:endParaRPr lang="de-DE" sz="2800" dirty="0"/>
          </a:p>
        </p:txBody>
      </p:sp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2266666096"/>
              </p:ext>
            </p:extLst>
          </p:nvPr>
        </p:nvGraphicFramePr>
        <p:xfrm>
          <a:off x="251520" y="1901056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Geschweifte Klammer rechts 4"/>
          <p:cNvSpPr/>
          <p:nvPr/>
        </p:nvSpPr>
        <p:spPr>
          <a:xfrm>
            <a:off x="2843808" y="1844824"/>
            <a:ext cx="432048" cy="15841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Geschweifte Klammer rechts 5"/>
          <p:cNvSpPr/>
          <p:nvPr/>
        </p:nvSpPr>
        <p:spPr>
          <a:xfrm>
            <a:off x="2843808" y="3645024"/>
            <a:ext cx="432048" cy="15841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Geschweifte Klammer rechts 6"/>
          <p:cNvSpPr/>
          <p:nvPr/>
        </p:nvSpPr>
        <p:spPr>
          <a:xfrm>
            <a:off x="2843808" y="5445224"/>
            <a:ext cx="432048" cy="79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3419872" y="2452246"/>
            <a:ext cx="2351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>
                <a:effectLst/>
              </a:rPr>
              <a:t>Vorgehensratschläge</a:t>
            </a:r>
            <a:endParaRPr lang="de-DE" sz="1800" dirty="0">
              <a:effectLst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419872" y="5589240"/>
            <a:ext cx="2351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>
                <a:effectLst/>
              </a:rPr>
              <a:t>Vorgehensratschläge</a:t>
            </a:r>
            <a:endParaRPr lang="de-DE" sz="1800" dirty="0">
              <a:effectLst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419872" y="4078813"/>
            <a:ext cx="25314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err="1" smtClean="0">
                <a:effectLst/>
              </a:rPr>
              <a:t>Assisted</a:t>
            </a:r>
            <a:r>
              <a:rPr lang="de-DE" sz="1800" dirty="0" smtClean="0">
                <a:effectLst/>
              </a:rPr>
              <a:t>/</a:t>
            </a:r>
            <a:r>
              <a:rPr lang="de-DE" sz="1800" dirty="0" err="1" smtClean="0">
                <a:effectLst/>
              </a:rPr>
              <a:t>Guided</a:t>
            </a:r>
            <a:r>
              <a:rPr lang="de-DE" sz="1800" dirty="0" smtClean="0">
                <a:effectLst/>
              </a:rPr>
              <a:t> </a:t>
            </a:r>
            <a:br>
              <a:rPr lang="de-DE" sz="1800" dirty="0" smtClean="0">
                <a:effectLst/>
              </a:rPr>
            </a:br>
            <a:r>
              <a:rPr lang="de-DE" sz="1800" dirty="0" smtClean="0">
                <a:effectLst/>
              </a:rPr>
              <a:t>Programming/Scripting</a:t>
            </a:r>
            <a:endParaRPr lang="de-DE" sz="1800" dirty="0">
              <a:effectLst/>
            </a:endParaRPr>
          </a:p>
        </p:txBody>
      </p:sp>
      <p:sp>
        <p:nvSpPr>
          <p:cNvPr id="11" name="Pfeil nach rechts 10"/>
          <p:cNvSpPr/>
          <p:nvPr/>
        </p:nvSpPr>
        <p:spPr>
          <a:xfrm>
            <a:off x="6103734" y="4149080"/>
            <a:ext cx="412482" cy="504056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Abgerundetes Rechteck 11"/>
          <p:cNvSpPr/>
          <p:nvPr/>
        </p:nvSpPr>
        <p:spPr>
          <a:xfrm>
            <a:off x="6660232" y="3645024"/>
            <a:ext cx="2232248" cy="158417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800" dirty="0" smtClean="0">
                <a:effectLst/>
              </a:rPr>
              <a:t>Strukturierter, an Standards angelegter Quellcode und Testfälle</a:t>
            </a:r>
            <a:endParaRPr lang="de-DE" sz="1800" dirty="0">
              <a:effectLst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6597352" y="2313746"/>
            <a:ext cx="23580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effectLst/>
              </a:rPr>
              <a:t>Measure Twice; Cut Once: Designing Better Code </a:t>
            </a:r>
            <a:r>
              <a:rPr lang="en-US" sz="1200" dirty="0" smtClean="0">
                <a:effectLst/>
              </a:rPr>
              <a:t>(Benjamin Hodge)</a:t>
            </a:r>
            <a:endParaRPr lang="de-DE" sz="12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80346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smtClean="0"/>
              <a:t>Was heißt das nun?</a:t>
            </a:r>
            <a:endParaRPr lang="de-DE" sz="2800" dirty="0"/>
          </a:p>
        </p:txBody>
      </p:sp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2266666096"/>
              </p:ext>
            </p:extLst>
          </p:nvPr>
        </p:nvGraphicFramePr>
        <p:xfrm>
          <a:off x="251520" y="1901056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4" name="Gruppieren 13"/>
          <p:cNvGrpSpPr/>
          <p:nvPr/>
        </p:nvGrpSpPr>
        <p:grpSpPr>
          <a:xfrm>
            <a:off x="3651712" y="1628800"/>
            <a:ext cx="4364168" cy="2376264"/>
            <a:chOff x="100328" y="520"/>
            <a:chExt cx="2391630" cy="609029"/>
          </a:xfrm>
        </p:grpSpPr>
        <p:sp>
          <p:nvSpPr>
            <p:cNvPr id="15" name="Abgerundetes Rechteck 14"/>
            <p:cNvSpPr/>
            <p:nvPr/>
          </p:nvSpPr>
          <p:spPr>
            <a:xfrm>
              <a:off x="100328" y="520"/>
              <a:ext cx="2391630" cy="609029"/>
            </a:xfrm>
            <a:prstGeom prst="roundRect">
              <a:avLst>
                <a:gd name="adj" fmla="val 10000"/>
              </a:avLst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de-DE" sz="1600"/>
            </a:p>
          </p:txBody>
        </p:sp>
        <p:sp>
          <p:nvSpPr>
            <p:cNvPr id="16" name="Abgerundetes Rechteck 4"/>
            <p:cNvSpPr/>
            <p:nvPr/>
          </p:nvSpPr>
          <p:spPr>
            <a:xfrm>
              <a:off x="118166" y="18358"/>
              <a:ext cx="2355954" cy="5733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7150" tIns="57150" rIns="57150" bIns="57150" numCol="1" spcCol="1270" anchor="t" anchorCtr="0">
              <a:noAutofit/>
            </a:bodyPr>
            <a:lstStyle/>
            <a:p>
              <a:pPr lvl="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600" b="1" kern="1200" dirty="0" smtClean="0"/>
                <a:t>Mindestinformation:</a:t>
              </a:r>
            </a:p>
            <a:p>
              <a:pPr lvl="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600" b="1" kern="1200" dirty="0"/>
            </a:p>
          </p:txBody>
        </p:sp>
      </p:grpSp>
      <p:sp>
        <p:nvSpPr>
          <p:cNvPr id="17" name="Vertikaler Bildlauf 16"/>
          <p:cNvSpPr/>
          <p:nvPr/>
        </p:nvSpPr>
        <p:spPr>
          <a:xfrm>
            <a:off x="4310921" y="2204863"/>
            <a:ext cx="2822018" cy="1512168"/>
          </a:xfrm>
          <a:prstGeom prst="verticalScroll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Input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Output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Ansprechpartner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Testfälle</a:t>
            </a:r>
            <a:endParaRPr lang="de-DE" sz="1600" dirty="0">
              <a:effectLst/>
            </a:endParaRPr>
          </a:p>
        </p:txBody>
      </p:sp>
      <p:cxnSp>
        <p:nvCxnSpPr>
          <p:cNvPr id="18" name="Gerade Verbindung mit Pfeil 17"/>
          <p:cNvCxnSpPr/>
          <p:nvPr/>
        </p:nvCxnSpPr>
        <p:spPr>
          <a:xfrm>
            <a:off x="2771800" y="1916832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51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smtClean="0"/>
              <a:t>Was heißt das nun?</a:t>
            </a:r>
            <a:endParaRPr lang="de-DE" sz="2800" dirty="0"/>
          </a:p>
        </p:txBody>
      </p:sp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2266666096"/>
              </p:ext>
            </p:extLst>
          </p:nvPr>
        </p:nvGraphicFramePr>
        <p:xfrm>
          <a:off x="251520" y="1901056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Abgerundetes Rechteck 8"/>
          <p:cNvSpPr/>
          <p:nvPr/>
        </p:nvSpPr>
        <p:spPr>
          <a:xfrm>
            <a:off x="3651712" y="2348880"/>
            <a:ext cx="3872616" cy="2736304"/>
          </a:xfrm>
          <a:prstGeom prst="roundRect">
            <a:avLst>
              <a:gd name="adj" fmla="val 10000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600" b="1" dirty="0" smtClean="0">
                <a:effectLst/>
              </a:rPr>
              <a:t>Top-Down Entwurf</a:t>
            </a:r>
          </a:p>
          <a:p>
            <a:pPr>
              <a:buFont typeface="Arial" pitchFamily="34" charset="0"/>
              <a:buChar char="•"/>
            </a:pPr>
            <a:r>
              <a:rPr lang="de-DE" sz="1600" b="1" dirty="0" smtClean="0">
                <a:effectLst/>
              </a:rPr>
              <a:t> </a:t>
            </a:r>
            <a:r>
              <a:rPr lang="de-DE" sz="1600" dirty="0" err="1" smtClean="0">
                <a:effectLst/>
              </a:rPr>
              <a:t>Highlevel</a:t>
            </a:r>
            <a:r>
              <a:rPr lang="de-DE" sz="1600" dirty="0" smtClean="0">
                <a:effectLst/>
              </a:rPr>
              <a:t> </a:t>
            </a:r>
            <a:r>
              <a:rPr lang="de-DE" sz="1600" dirty="0" err="1" smtClean="0">
                <a:effectLst/>
              </a:rPr>
              <a:t>Struktogram</a:t>
            </a:r>
            <a:r>
              <a:rPr lang="de-DE" sz="1600" dirty="0" smtClean="0">
                <a:effectLst/>
              </a:rPr>
              <a:t>/PAP</a:t>
            </a:r>
          </a:p>
          <a:p>
            <a:pPr>
              <a:buFont typeface="Arial" pitchFamily="34" charset="0"/>
              <a:buChar char="•"/>
            </a:pPr>
            <a:r>
              <a:rPr lang="de-DE" sz="1600" b="1" dirty="0" smtClean="0">
                <a:effectLst/>
              </a:rPr>
              <a:t> </a:t>
            </a:r>
            <a:r>
              <a:rPr lang="de-DE" sz="1600" dirty="0" smtClean="0">
                <a:effectLst/>
              </a:rPr>
              <a:t>Identifikation und </a:t>
            </a:r>
            <a:r>
              <a:rPr lang="de-DE" sz="1600" dirty="0" err="1" smtClean="0">
                <a:effectLst/>
              </a:rPr>
              <a:t>Clusterung</a:t>
            </a:r>
            <a:r>
              <a:rPr lang="de-DE" sz="1600" dirty="0" smtClean="0">
                <a:effectLst/>
              </a:rPr>
              <a:t> von benötigten Funktionen (allgemein, projektspezifisch, Themenbereiche)</a:t>
            </a:r>
          </a:p>
          <a:p>
            <a:pPr>
              <a:buFont typeface="Arial" pitchFamily="34" charset="0"/>
              <a:buChar char="•"/>
            </a:pPr>
            <a:endParaRPr lang="de-DE" sz="1600" b="1" dirty="0" smtClean="0">
              <a:effectLst/>
            </a:endParaRPr>
          </a:p>
          <a:p>
            <a:pPr>
              <a:buFont typeface="Arial" pitchFamily="34" charset="0"/>
              <a:buChar char="•"/>
            </a:pPr>
            <a:endParaRPr lang="de-DE" sz="1600" b="1" dirty="0" smtClean="0">
              <a:effectLst/>
            </a:endParaRP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evtl. bei großen Vorhaben Komponentendiagramm oder Objektdiagramm</a:t>
            </a:r>
            <a:endParaRPr lang="de-DE" sz="1600" dirty="0">
              <a:effectLst/>
            </a:endParaRPr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2771800" y="2852936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Nach links gekrümmter Pfeil 10"/>
          <p:cNvSpPr/>
          <p:nvPr/>
        </p:nvSpPr>
        <p:spPr>
          <a:xfrm flipV="1">
            <a:off x="7053204" y="2708920"/>
            <a:ext cx="327108" cy="936104"/>
          </a:xfrm>
          <a:prstGeom prst="curvedLef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2" name="Abgerundetes Rechteck 11"/>
          <p:cNvSpPr/>
          <p:nvPr/>
        </p:nvSpPr>
        <p:spPr>
          <a:xfrm>
            <a:off x="7524328" y="3140968"/>
            <a:ext cx="1224136" cy="36004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b="1" dirty="0" smtClean="0">
                <a:effectLst/>
              </a:rPr>
              <a:t>Verfeinerung</a:t>
            </a:r>
            <a:endParaRPr lang="de-DE" sz="1200" b="1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65504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smtClean="0"/>
              <a:t>Was heißt das nun?</a:t>
            </a:r>
            <a:endParaRPr lang="de-DE" sz="2800" dirty="0"/>
          </a:p>
        </p:txBody>
      </p:sp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2266666096"/>
              </p:ext>
            </p:extLst>
          </p:nvPr>
        </p:nvGraphicFramePr>
        <p:xfrm>
          <a:off x="251520" y="1901056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Abgerundetes Rechteck 7"/>
          <p:cNvSpPr/>
          <p:nvPr/>
        </p:nvSpPr>
        <p:spPr>
          <a:xfrm>
            <a:off x="3651712" y="2492896"/>
            <a:ext cx="5240768" cy="3096344"/>
          </a:xfrm>
          <a:prstGeom prst="roundRect">
            <a:avLst>
              <a:gd name="adj" fmla="val 10000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600" b="1" dirty="0" smtClean="0">
                <a:effectLst/>
              </a:rPr>
              <a:t>Tool-Unterstützung – Ziele 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einheitlicher Aufbau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erleichterte Wiederverwendbarkeit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erleichterte Strukturierungsmöglichkeiten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Unterstützung bei der Dokumentierung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verbesserte </a:t>
            </a:r>
            <a:r>
              <a:rPr lang="de-DE" sz="1600" dirty="0" err="1" smtClean="0">
                <a:effectLst/>
              </a:rPr>
              <a:t>Wartbarkeit</a:t>
            </a:r>
            <a:endParaRPr lang="de-DE" sz="1600" dirty="0" smtClean="0">
              <a:effectLst/>
            </a:endParaRP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höhere Qualität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Geschwindigkeitsvorteil bei Entwicklung und Wartung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>
                <a:effectLst/>
              </a:rPr>
              <a:t> einfaches Handling/</a:t>
            </a:r>
            <a:r>
              <a:rPr lang="de-DE" sz="1600" dirty="0" err="1" smtClean="0">
                <a:effectLst/>
              </a:rPr>
              <a:t>Deployment</a:t>
            </a:r>
            <a:endParaRPr lang="de-DE" sz="1600" dirty="0" smtClean="0">
              <a:effectLst/>
            </a:endParaRPr>
          </a:p>
          <a:p>
            <a:pPr>
              <a:buFont typeface="Arial" pitchFamily="34" charset="0"/>
              <a:buChar char="•"/>
            </a:pPr>
            <a:r>
              <a:rPr lang="de-DE" sz="1600" dirty="0">
                <a:effectLst/>
              </a:rPr>
              <a:t> </a:t>
            </a:r>
            <a:r>
              <a:rPr lang="de-DE" sz="1600" dirty="0" smtClean="0">
                <a:effectLst/>
              </a:rPr>
              <a:t>Zusammenarbeit im Team ermöglichen</a:t>
            </a:r>
          </a:p>
        </p:txBody>
      </p:sp>
      <p:cxnSp>
        <p:nvCxnSpPr>
          <p:cNvPr id="13" name="Gerade Verbindung mit Pfeil 12"/>
          <p:cNvCxnSpPr/>
          <p:nvPr/>
        </p:nvCxnSpPr>
        <p:spPr>
          <a:xfrm>
            <a:off x="2771800" y="3717032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>
            <a:off x="2771800" y="4725144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359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bgerundetes Rechteck 16"/>
          <p:cNvSpPr/>
          <p:nvPr/>
        </p:nvSpPr>
        <p:spPr>
          <a:xfrm>
            <a:off x="1619672" y="4581842"/>
            <a:ext cx="5904656" cy="1448544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600" b="1" dirty="0" smtClean="0"/>
              <a:t>Gemeinsame Basis:</a:t>
            </a:r>
            <a:endParaRPr lang="de-DE" sz="1600" b="1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ruktur</a:t>
            </a:r>
            <a:endParaRPr lang="de-DE" dirty="0"/>
          </a:p>
        </p:txBody>
      </p:sp>
      <p:sp>
        <p:nvSpPr>
          <p:cNvPr id="8" name="Abgerundetes Rechteck 7"/>
          <p:cNvSpPr/>
          <p:nvPr/>
        </p:nvSpPr>
        <p:spPr>
          <a:xfrm>
            <a:off x="2096220" y="5013890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sz="1600" dirty="0" smtClean="0"/>
              <a:t>Modul1</a:t>
            </a:r>
            <a:endParaRPr lang="de-DE" sz="1600" dirty="0"/>
          </a:p>
        </p:txBody>
      </p:sp>
      <p:sp>
        <p:nvSpPr>
          <p:cNvPr id="9" name="Abgerundetes Rechteck 8"/>
          <p:cNvSpPr/>
          <p:nvPr/>
        </p:nvSpPr>
        <p:spPr>
          <a:xfrm>
            <a:off x="3392476" y="5013890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sz="1600" dirty="0" smtClean="0"/>
              <a:t>Modul2</a:t>
            </a:r>
            <a:endParaRPr lang="de-DE" sz="1600" dirty="0"/>
          </a:p>
        </p:txBody>
      </p:sp>
      <p:sp>
        <p:nvSpPr>
          <p:cNvPr id="10" name="Abgerundetes Rechteck 9"/>
          <p:cNvSpPr/>
          <p:nvPr/>
        </p:nvSpPr>
        <p:spPr>
          <a:xfrm>
            <a:off x="4616612" y="5013890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sz="1600" dirty="0" smtClean="0"/>
              <a:t>Modul3</a:t>
            </a:r>
            <a:endParaRPr lang="de-DE" sz="1600" dirty="0"/>
          </a:p>
        </p:txBody>
      </p:sp>
      <p:sp>
        <p:nvSpPr>
          <p:cNvPr id="11" name="Abgerundetes Rechteck 10"/>
          <p:cNvSpPr/>
          <p:nvPr/>
        </p:nvSpPr>
        <p:spPr>
          <a:xfrm>
            <a:off x="5840748" y="5013890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sz="1600" dirty="0" smtClean="0"/>
              <a:t>Modul4</a:t>
            </a:r>
            <a:endParaRPr lang="de-DE" sz="1600" dirty="0"/>
          </a:p>
        </p:txBody>
      </p:sp>
      <p:sp>
        <p:nvSpPr>
          <p:cNvPr id="16" name="Abgerundetes Rechteck 15"/>
          <p:cNvSpPr/>
          <p:nvPr/>
        </p:nvSpPr>
        <p:spPr>
          <a:xfrm>
            <a:off x="1619672" y="1340768"/>
            <a:ext cx="5904656" cy="2952328"/>
          </a:xfrm>
          <a:prstGeom prst="roundRect">
            <a:avLst/>
          </a:prstGeom>
          <a:ln w="381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600" b="1" dirty="0" smtClean="0"/>
              <a:t>Projekt:</a:t>
            </a:r>
            <a:endParaRPr lang="de-DE" sz="1600" b="1" dirty="0"/>
          </a:p>
        </p:txBody>
      </p:sp>
      <p:sp>
        <p:nvSpPr>
          <p:cNvPr id="18" name="Abgerundetes Rechteck 17"/>
          <p:cNvSpPr/>
          <p:nvPr/>
        </p:nvSpPr>
        <p:spPr>
          <a:xfrm>
            <a:off x="1772072" y="3285698"/>
            <a:ext cx="5516318" cy="87248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endParaRPr lang="de-DE" sz="1600" b="1" dirty="0"/>
          </a:p>
        </p:txBody>
      </p:sp>
      <p:sp>
        <p:nvSpPr>
          <p:cNvPr id="19" name="Abgerundetes Rechteck 18"/>
          <p:cNvSpPr/>
          <p:nvPr/>
        </p:nvSpPr>
        <p:spPr>
          <a:xfrm>
            <a:off x="2096220" y="5013890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sz="1600" dirty="0" smtClean="0"/>
              <a:t>Modul1</a:t>
            </a:r>
            <a:endParaRPr lang="de-DE" sz="1600" dirty="0"/>
          </a:p>
        </p:txBody>
      </p:sp>
      <p:sp>
        <p:nvSpPr>
          <p:cNvPr id="20" name="Abgerundetes Rechteck 19"/>
          <p:cNvSpPr/>
          <p:nvPr/>
        </p:nvSpPr>
        <p:spPr>
          <a:xfrm>
            <a:off x="4616612" y="5013890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sz="1600" dirty="0" smtClean="0"/>
              <a:t>Modul3</a:t>
            </a:r>
            <a:endParaRPr lang="de-DE" sz="1600" dirty="0"/>
          </a:p>
        </p:txBody>
      </p:sp>
      <p:sp>
        <p:nvSpPr>
          <p:cNvPr id="21" name="Abgerundetes Rechteck 20"/>
          <p:cNvSpPr/>
          <p:nvPr/>
        </p:nvSpPr>
        <p:spPr>
          <a:xfrm>
            <a:off x="2826994" y="1917546"/>
            <a:ext cx="1260000" cy="36004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Start.ps1</a:t>
            </a:r>
            <a:endParaRPr lang="de-DE" sz="1600" dirty="0"/>
          </a:p>
        </p:txBody>
      </p:sp>
      <p:sp>
        <p:nvSpPr>
          <p:cNvPr id="23" name="Abgerundetes Rechteck 22"/>
          <p:cNvSpPr/>
          <p:nvPr/>
        </p:nvSpPr>
        <p:spPr>
          <a:xfrm>
            <a:off x="3770476" y="2637626"/>
            <a:ext cx="1260000" cy="36004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Class.ps1</a:t>
            </a:r>
            <a:endParaRPr lang="de-DE" sz="1600" dirty="0"/>
          </a:p>
        </p:txBody>
      </p:sp>
      <p:sp>
        <p:nvSpPr>
          <p:cNvPr id="26" name="Abgerundetes Rechteck 25"/>
          <p:cNvSpPr/>
          <p:nvPr/>
        </p:nvSpPr>
        <p:spPr>
          <a:xfrm>
            <a:off x="1924472" y="2457606"/>
            <a:ext cx="1260000" cy="36004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Skript.ps1</a:t>
            </a:r>
            <a:endParaRPr lang="de-DE" sz="1600" dirty="0"/>
          </a:p>
        </p:txBody>
      </p:sp>
      <p:sp>
        <p:nvSpPr>
          <p:cNvPr id="22" name="Abgerundetes Rechteck 21"/>
          <p:cNvSpPr/>
          <p:nvPr/>
        </p:nvSpPr>
        <p:spPr>
          <a:xfrm>
            <a:off x="1772072" y="2637626"/>
            <a:ext cx="1260000" cy="36004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Skript.ps1</a:t>
            </a:r>
            <a:endParaRPr lang="de-DE" sz="1600" dirty="0"/>
          </a:p>
        </p:txBody>
      </p:sp>
      <p:sp>
        <p:nvSpPr>
          <p:cNvPr id="27" name="Ellipse 26"/>
          <p:cNvSpPr/>
          <p:nvPr/>
        </p:nvSpPr>
        <p:spPr>
          <a:xfrm>
            <a:off x="3275856" y="2637626"/>
            <a:ext cx="360040" cy="36004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cxnSp>
        <p:nvCxnSpPr>
          <p:cNvPr id="29" name="Gerade Verbindung mit Pfeil 28"/>
          <p:cNvCxnSpPr/>
          <p:nvPr/>
        </p:nvCxnSpPr>
        <p:spPr>
          <a:xfrm flipH="1" flipV="1">
            <a:off x="3455876" y="2277586"/>
            <a:ext cx="1118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stCxn id="22" idx="3"/>
            <a:endCxn id="27" idx="2"/>
          </p:cNvCxnSpPr>
          <p:nvPr/>
        </p:nvCxnSpPr>
        <p:spPr>
          <a:xfrm>
            <a:off x="3032072" y="2817646"/>
            <a:ext cx="24378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26" idx="3"/>
            <a:endCxn id="27" idx="1"/>
          </p:cNvCxnSpPr>
          <p:nvPr/>
        </p:nvCxnSpPr>
        <p:spPr>
          <a:xfrm>
            <a:off x="3184472" y="2637626"/>
            <a:ext cx="144111" cy="527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endCxn id="27" idx="4"/>
          </p:cNvCxnSpPr>
          <p:nvPr/>
        </p:nvCxnSpPr>
        <p:spPr>
          <a:xfrm flipV="1">
            <a:off x="3455876" y="2997666"/>
            <a:ext cx="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>
            <a:stCxn id="23" idx="1"/>
            <a:endCxn id="27" idx="6"/>
          </p:cNvCxnSpPr>
          <p:nvPr/>
        </p:nvCxnSpPr>
        <p:spPr>
          <a:xfrm flipH="1">
            <a:off x="3635896" y="2817646"/>
            <a:ext cx="13458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bgerundetes Rechteck 38"/>
          <p:cNvSpPr/>
          <p:nvPr/>
        </p:nvSpPr>
        <p:spPr>
          <a:xfrm>
            <a:off x="5624612" y="1917546"/>
            <a:ext cx="1296144" cy="772807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Generierte Test-Stümpfe</a:t>
            </a:r>
            <a:endParaRPr lang="de-DE" sz="1600" dirty="0"/>
          </a:p>
        </p:txBody>
      </p:sp>
      <p:sp>
        <p:nvSpPr>
          <p:cNvPr id="41" name="Abgerundetes Rechteck 40"/>
          <p:cNvSpPr/>
          <p:nvPr/>
        </p:nvSpPr>
        <p:spPr>
          <a:xfrm>
            <a:off x="2096220" y="5013890"/>
            <a:ext cx="100800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Modul1</a:t>
            </a:r>
            <a:br>
              <a:rPr lang="de-DE" sz="1600" dirty="0" smtClean="0"/>
            </a:br>
            <a:r>
              <a:rPr lang="de-DE" sz="1600" dirty="0" smtClean="0"/>
              <a:t>v2</a:t>
            </a:r>
            <a:endParaRPr lang="de-DE" sz="1600" dirty="0"/>
          </a:p>
        </p:txBody>
      </p:sp>
      <p:sp>
        <p:nvSpPr>
          <p:cNvPr id="42" name="Abgerundetes Rechteck 41"/>
          <p:cNvSpPr/>
          <p:nvPr/>
        </p:nvSpPr>
        <p:spPr>
          <a:xfrm>
            <a:off x="1619672" y="1340768"/>
            <a:ext cx="5904656" cy="2952328"/>
          </a:xfrm>
          <a:prstGeom prst="roundRect">
            <a:avLst/>
          </a:prstGeom>
          <a:ln w="381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600" b="1" dirty="0" smtClean="0"/>
              <a:t>Projekt.ps1</a:t>
            </a:r>
          </a:p>
          <a:p>
            <a:endParaRPr lang="de-DE" sz="1600" b="1" dirty="0" smtClean="0"/>
          </a:p>
          <a:p>
            <a:r>
              <a:rPr lang="de-DE" sz="1600" dirty="0" smtClean="0"/>
              <a:t>Automatisch generierte Skript-Datei mit allen aufgerufenen Funktionen aus Modulen und Unterskripten</a:t>
            </a:r>
            <a:endParaRPr lang="de-DE" sz="1600" dirty="0"/>
          </a:p>
        </p:txBody>
      </p:sp>
      <p:sp>
        <p:nvSpPr>
          <p:cNvPr id="30" name="Abgerundetes Rechteck 29"/>
          <p:cNvSpPr/>
          <p:nvPr/>
        </p:nvSpPr>
        <p:spPr>
          <a:xfrm>
            <a:off x="3458112" y="5373930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35" name="Abgerundetes Rechteck 34"/>
          <p:cNvSpPr/>
          <p:nvPr/>
        </p:nvSpPr>
        <p:spPr>
          <a:xfrm>
            <a:off x="3899596" y="5373930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37" name="Abgerundetes Rechteck 36"/>
          <p:cNvSpPr/>
          <p:nvPr/>
        </p:nvSpPr>
        <p:spPr>
          <a:xfrm>
            <a:off x="4874294" y="5382314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40" name="Abgerundetes Rechteck 39"/>
          <p:cNvSpPr/>
          <p:nvPr/>
        </p:nvSpPr>
        <p:spPr>
          <a:xfrm>
            <a:off x="5915820" y="5373930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43" name="Abgerundetes Rechteck 42"/>
          <p:cNvSpPr/>
          <p:nvPr/>
        </p:nvSpPr>
        <p:spPr>
          <a:xfrm>
            <a:off x="6372200" y="5382314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44" name="Abgerundetes Rechteck 43"/>
          <p:cNvSpPr/>
          <p:nvPr/>
        </p:nvSpPr>
        <p:spPr>
          <a:xfrm>
            <a:off x="2339752" y="5373930"/>
            <a:ext cx="312364" cy="14401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80291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3.33333E-6 L 1.66667E-6 -0.22037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3.33333E-6 L -2.77778E-6 -0.22037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64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3.33333E-6 L 1.66667E-6 -0.22037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3" grpId="0" animBg="1"/>
      <p:bldP spid="26" grpId="0" animBg="1"/>
      <p:bldP spid="22" grpId="0" animBg="1"/>
      <p:bldP spid="27" grpId="0" animBg="1"/>
      <p:bldP spid="39" grpId="0" animBg="1"/>
      <p:bldP spid="41" grpId="0" animBg="1"/>
      <p:bldP spid="41" grpId="1" animBg="1"/>
      <p:bldP spid="42" grpId="0" animBg="1"/>
      <p:bldP spid="30" grpId="0" animBg="1"/>
      <p:bldP spid="35" grpId="0" animBg="1"/>
      <p:bldP spid="37" grpId="0" animBg="1"/>
      <p:bldP spid="40" grpId="0" animBg="1"/>
      <p:bldP spid="43" grpId="0" animBg="1"/>
      <p:bldP spid="4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smtClean="0"/>
              <a:t>Was heißt das nun?</a:t>
            </a:r>
            <a:endParaRPr lang="de-DE" sz="2800" dirty="0"/>
          </a:p>
        </p:txBody>
      </p:sp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2266666096"/>
              </p:ext>
            </p:extLst>
          </p:nvPr>
        </p:nvGraphicFramePr>
        <p:xfrm>
          <a:off x="251520" y="1901056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Abgerundetes Rechteck 6"/>
          <p:cNvSpPr/>
          <p:nvPr/>
        </p:nvSpPr>
        <p:spPr>
          <a:xfrm>
            <a:off x="3540246" y="5157192"/>
            <a:ext cx="4364168" cy="720080"/>
          </a:xfrm>
          <a:prstGeom prst="roundRect">
            <a:avLst>
              <a:gd name="adj" fmla="val 10000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r>
              <a:rPr lang="de-DE" sz="1600" b="1" dirty="0" smtClean="0">
                <a:effectLst/>
              </a:rPr>
              <a:t>Etablierung eines </a:t>
            </a:r>
            <a:r>
              <a:rPr lang="de-DE" sz="1600" b="1" dirty="0" err="1" smtClean="0">
                <a:effectLst/>
              </a:rPr>
              <a:t>Deploymentprozess</a:t>
            </a:r>
            <a:r>
              <a:rPr lang="de-DE" sz="1600" b="1" dirty="0" smtClean="0">
                <a:effectLst/>
              </a:rPr>
              <a:t> </a:t>
            </a:r>
            <a:r>
              <a:rPr lang="de-DE" sz="1600" dirty="0" smtClean="0">
                <a:effectLst/>
              </a:rPr>
              <a:t>(z.B. über </a:t>
            </a:r>
            <a:r>
              <a:rPr lang="de-DE" sz="1600" dirty="0" err="1" smtClean="0">
                <a:effectLst/>
              </a:rPr>
              <a:t>Automic</a:t>
            </a:r>
            <a:r>
              <a:rPr lang="de-DE" sz="1600" dirty="0" smtClean="0">
                <a:effectLst/>
              </a:rPr>
              <a:t> UC4)</a:t>
            </a:r>
            <a:endParaRPr lang="de-DE" sz="1600" b="1" dirty="0" smtClean="0">
              <a:effectLst/>
            </a:endParaRPr>
          </a:p>
        </p:txBody>
      </p:sp>
      <p:cxnSp>
        <p:nvCxnSpPr>
          <p:cNvPr id="9" name="Gerade Verbindung mit Pfeil 8"/>
          <p:cNvCxnSpPr/>
          <p:nvPr/>
        </p:nvCxnSpPr>
        <p:spPr>
          <a:xfrm>
            <a:off x="2699792" y="5805264"/>
            <a:ext cx="84045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897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..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908720"/>
            <a:ext cx="9144000" cy="79208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Summary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>
                <a:effectLst/>
              </a:rPr>
              <a:t>„Strukturieren, Strukturieren, Strukturieren“ (Jörg Becker)</a:t>
            </a:r>
          </a:p>
          <a:p>
            <a:endParaRPr lang="de-DE" dirty="0" smtClean="0">
              <a:effectLst/>
            </a:endParaRPr>
          </a:p>
          <a:p>
            <a:endParaRPr lang="de-DE" dirty="0" smtClean="0">
              <a:effectLst/>
            </a:endParaRPr>
          </a:p>
          <a:p>
            <a:pPr algn="ctr"/>
            <a:r>
              <a:rPr lang="de-DE" i="1" dirty="0" smtClean="0">
                <a:effectLst/>
              </a:rPr>
              <a:t>Eine Straße vorgeben, aber die Schaufel nicht wegnehmen...</a:t>
            </a:r>
          </a:p>
          <a:p>
            <a:endParaRPr lang="de-D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0972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60" y="2498973"/>
            <a:ext cx="7772400" cy="1650107"/>
          </a:xfrm>
        </p:spPr>
        <p:txBody>
          <a:bodyPr/>
          <a:lstStyle/>
          <a:p>
            <a:r>
              <a:rPr lang="de-DE" dirty="0" smtClean="0"/>
              <a:t>Fragen?</a:t>
            </a:r>
            <a:br>
              <a:rPr lang="de-DE" dirty="0" smtClean="0"/>
            </a:br>
            <a:r>
              <a:rPr lang="de-DE" dirty="0" smtClean="0"/>
              <a:t>Feedback</a:t>
            </a:r>
            <a:br>
              <a:rPr lang="de-DE" dirty="0" smtClean="0"/>
            </a:br>
            <a:r>
              <a:rPr lang="de-DE" dirty="0" smtClean="0"/>
              <a:t>Diskus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440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sz="1600" dirty="0" smtClean="0">
                <a:effectLst/>
              </a:rPr>
              <a:t>2011: Allgemeine Hochschulreife</a:t>
            </a:r>
          </a:p>
          <a:p>
            <a:r>
              <a:rPr lang="de-DE" sz="1600" dirty="0" smtClean="0">
                <a:effectLst/>
              </a:rPr>
              <a:t>2011 – 2014: Duales Studium bei der GAD eG</a:t>
            </a:r>
          </a:p>
          <a:p>
            <a:pPr lvl="1"/>
            <a:r>
              <a:rPr lang="de-DE" sz="1600" dirty="0" smtClean="0">
                <a:effectLst/>
              </a:rPr>
              <a:t>2013: Fachinformatiker in Anwendungsentwicklung</a:t>
            </a:r>
          </a:p>
          <a:p>
            <a:pPr lvl="1"/>
            <a:r>
              <a:rPr lang="de-DE" sz="1600" dirty="0" smtClean="0">
                <a:effectLst/>
              </a:rPr>
              <a:t>2014: Bachelor </a:t>
            </a:r>
            <a:r>
              <a:rPr lang="de-DE" sz="1600" dirty="0" err="1" smtClean="0">
                <a:effectLst/>
              </a:rPr>
              <a:t>of</a:t>
            </a:r>
            <a:r>
              <a:rPr lang="de-DE" sz="1600" dirty="0" smtClean="0">
                <a:effectLst/>
              </a:rPr>
              <a:t> Science (Wirtschaftsinformatik)</a:t>
            </a:r>
          </a:p>
          <a:p>
            <a:r>
              <a:rPr lang="de-DE" sz="1600" dirty="0" smtClean="0">
                <a:effectLst/>
              </a:rPr>
              <a:t>Seit 2014: festangestellter Mitarbeiter der </a:t>
            </a:r>
            <a:r>
              <a:rPr lang="de-DE" sz="1600" dirty="0" err="1" smtClean="0">
                <a:effectLst/>
              </a:rPr>
              <a:t>Fiducia</a:t>
            </a:r>
            <a:r>
              <a:rPr lang="de-DE" sz="1600" dirty="0" smtClean="0">
                <a:effectLst/>
              </a:rPr>
              <a:t> &amp; GAD IT AG</a:t>
            </a:r>
          </a:p>
          <a:p>
            <a:r>
              <a:rPr lang="de-DE" sz="1600" dirty="0" smtClean="0">
                <a:effectLst/>
              </a:rPr>
              <a:t>2015 – </a:t>
            </a:r>
            <a:r>
              <a:rPr lang="de-DE" sz="1600" dirty="0" err="1" smtClean="0">
                <a:effectLst/>
              </a:rPr>
              <a:t>vsl</a:t>
            </a:r>
            <a:r>
              <a:rPr lang="de-DE" sz="1600" dirty="0" smtClean="0">
                <a:effectLst/>
              </a:rPr>
              <a:t>. 2016: berufsbegleitendes Master-Studium an der WWU Münster (IT-Management)</a:t>
            </a:r>
          </a:p>
          <a:p>
            <a:pPr lvl="2"/>
            <a:endParaRPr lang="de-DE" sz="1600" dirty="0" smtClean="0">
              <a:effectLst/>
            </a:endParaRPr>
          </a:p>
          <a:p>
            <a:pPr>
              <a:buNone/>
            </a:pPr>
            <a:endParaRPr lang="de-DE" sz="1600" dirty="0">
              <a:effectLst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an Lindmeier (* 22.05.1992)</a:t>
            </a:r>
          </a:p>
        </p:txBody>
      </p:sp>
      <p:pic>
        <p:nvPicPr>
          <p:cNvPr id="1027" name="Picture 3" descr="C:\Users\xgadlnd\Downloads\Jan_Lindmeie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08104" y="2132856"/>
            <a:ext cx="2263352" cy="2238971"/>
          </a:xfrm>
          <a:prstGeom prst="rect">
            <a:avLst/>
          </a:prstGeom>
          <a:noFill/>
        </p:spPr>
      </p:pic>
      <p:sp>
        <p:nvSpPr>
          <p:cNvPr id="4" name="Textfeld 3"/>
          <p:cNvSpPr txBox="1"/>
          <p:nvPr/>
        </p:nvSpPr>
        <p:spPr>
          <a:xfrm>
            <a:off x="5508104" y="4651148"/>
            <a:ext cx="255409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>
                <a:effectLst/>
              </a:rPr>
              <a:t>Kontakt:</a:t>
            </a:r>
          </a:p>
          <a:p>
            <a:r>
              <a:rPr lang="de-DE" sz="1600" dirty="0" smtClean="0">
                <a:effectLst/>
                <a:hlinkClick r:id="rId5"/>
              </a:rPr>
              <a:t>Jan.Lindmeier@gmail.com</a:t>
            </a:r>
            <a:endParaRPr lang="de-DE" sz="1600" dirty="0" smtClean="0">
              <a:effectLst/>
            </a:endParaRPr>
          </a:p>
          <a:p>
            <a:r>
              <a:rPr lang="de-DE" sz="1600" dirty="0" smtClean="0">
                <a:effectLst/>
              </a:rPr>
              <a:t>@</a:t>
            </a:r>
            <a:r>
              <a:rPr lang="de-DE" sz="1600" dirty="0" err="1" smtClean="0">
                <a:effectLst/>
              </a:rPr>
              <a:t>janlindmeier</a:t>
            </a:r>
            <a:endParaRPr lang="de-DE" sz="1600" dirty="0">
              <a:effectLst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55935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08720"/>
            <a:ext cx="9144000" cy="79208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Einordnung</a:t>
            </a:r>
          </a:p>
          <a:p>
            <a:r>
              <a:rPr lang="de-DE" dirty="0" smtClean="0"/>
              <a:t>Hintergrund</a:t>
            </a:r>
          </a:p>
          <a:p>
            <a:r>
              <a:rPr lang="de-DE" dirty="0" smtClean="0"/>
              <a:t>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</a:p>
          <a:p>
            <a:r>
              <a:rPr lang="de-DE" dirty="0" smtClean="0"/>
              <a:t>Demo</a:t>
            </a:r>
          </a:p>
          <a:p>
            <a:r>
              <a:rPr lang="de-DE" dirty="0" smtClean="0"/>
              <a:t>Abschließende Diskussion / Feedback </a:t>
            </a:r>
            <a:r>
              <a:rPr lang="de-DE" dirty="0" smtClean="0">
                <a:sym typeface="Wingdings" pitchFamily="2" charset="2"/>
              </a:rPr>
              <a:t>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0825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Now</a:t>
            </a:r>
            <a:r>
              <a:rPr lang="de-DE" dirty="0" smtClean="0"/>
              <a:t>: 15 min break</a:t>
            </a:r>
          </a:p>
          <a:p>
            <a:endParaRPr lang="de-DE" dirty="0" smtClean="0"/>
          </a:p>
          <a:p>
            <a:r>
              <a:rPr lang="de-DE" dirty="0" smtClean="0"/>
              <a:t>Grab a </a:t>
            </a:r>
            <a:r>
              <a:rPr lang="de-DE" dirty="0" err="1" smtClean="0"/>
              <a:t>coffee</a:t>
            </a:r>
            <a:endParaRPr lang="de-DE" dirty="0" smtClean="0"/>
          </a:p>
          <a:p>
            <a:r>
              <a:rPr lang="de-DE" dirty="0" err="1" smtClean="0"/>
              <a:t>Stay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njoy</a:t>
            </a:r>
            <a:r>
              <a:rPr lang="de-DE" dirty="0" smtClean="0"/>
              <a:t> </a:t>
            </a:r>
            <a:r>
              <a:rPr lang="de-DE" dirty="0" err="1" smtClean="0"/>
              <a:t>next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endParaRPr lang="de-DE" dirty="0" smtClean="0"/>
          </a:p>
          <a:p>
            <a:r>
              <a:rPr lang="de-DE" dirty="0" smtClean="0"/>
              <a:t>Change </a:t>
            </a:r>
            <a:r>
              <a:rPr lang="de-DE" dirty="0" err="1" smtClean="0"/>
              <a:t>track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nother</a:t>
            </a:r>
            <a:r>
              <a:rPr lang="de-DE" dirty="0" smtClean="0"/>
              <a:t> </a:t>
            </a:r>
            <a:r>
              <a:rPr lang="de-DE" dirty="0" err="1" smtClean="0"/>
              <a:t>room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Ask</a:t>
            </a:r>
            <a:r>
              <a:rPr lang="de-DE" dirty="0" smtClean="0"/>
              <a:t> </a:t>
            </a:r>
            <a:r>
              <a:rPr lang="de-DE" dirty="0" err="1" smtClean="0"/>
              <a:t>me</a:t>
            </a:r>
            <a:r>
              <a:rPr lang="de-DE" dirty="0" smtClean="0"/>
              <a:t> </a:t>
            </a:r>
            <a:r>
              <a:rPr lang="de-DE" dirty="0" err="1" smtClean="0"/>
              <a:t>questions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meet</a:t>
            </a:r>
            <a:r>
              <a:rPr lang="de-DE" dirty="0" smtClean="0"/>
              <a:t> </a:t>
            </a:r>
            <a:r>
              <a:rPr lang="de-DE" dirty="0" err="1" smtClean="0"/>
              <a:t>me</a:t>
            </a:r>
            <a:r>
              <a:rPr lang="de-DE" dirty="0" smtClean="0"/>
              <a:t> in a </a:t>
            </a:r>
            <a:r>
              <a:rPr lang="de-DE" dirty="0" err="1" smtClean="0"/>
              <a:t>breakout</a:t>
            </a:r>
            <a:r>
              <a:rPr lang="de-DE" dirty="0" smtClean="0"/>
              <a:t> </a:t>
            </a:r>
            <a:r>
              <a:rPr lang="de-DE" dirty="0" err="1" smtClean="0"/>
              <a:t>session</a:t>
            </a:r>
            <a:r>
              <a:rPr lang="de-DE" dirty="0" smtClean="0"/>
              <a:t> </a:t>
            </a:r>
            <a:r>
              <a:rPr lang="de-DE" dirty="0" err="1" smtClean="0"/>
              <a:t>room</a:t>
            </a:r>
            <a:r>
              <a:rPr lang="de-DE" dirty="0" smtClean="0"/>
              <a:t> </a:t>
            </a:r>
            <a:r>
              <a:rPr lang="de-DE" dirty="0" err="1" smtClean="0"/>
              <a:t>afterwards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xt </a:t>
            </a:r>
            <a:r>
              <a:rPr lang="de-DE" dirty="0" err="1" smtClean="0"/>
              <a:t>Steps</a:t>
            </a:r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731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ordnung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as dieser Vortrag sein soll</a:t>
            </a:r>
          </a:p>
          <a:p>
            <a:pPr lvl="1"/>
            <a:r>
              <a:rPr lang="de-DE" dirty="0"/>
              <a:t>Vorstellung von Problemen</a:t>
            </a:r>
          </a:p>
          <a:p>
            <a:pPr lvl="1"/>
            <a:r>
              <a:rPr lang="de-DE" dirty="0"/>
              <a:t>Mögliche Ideen zur Lösung zur Diskussion stellen</a:t>
            </a:r>
          </a:p>
          <a:p>
            <a:r>
              <a:rPr lang="de-DE" dirty="0"/>
              <a:t>Was dieser Vortrag nicht sein soll:</a:t>
            </a:r>
          </a:p>
          <a:p>
            <a:pPr lvl="1"/>
            <a:r>
              <a:rPr lang="de-DE" dirty="0"/>
              <a:t>DIE Lösung</a:t>
            </a:r>
          </a:p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ordn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013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intergrund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owerShell</a:t>
            </a:r>
            <a:r>
              <a:rPr lang="de-DE" dirty="0" smtClean="0"/>
              <a:t> – Fluch und Segen</a:t>
            </a:r>
            <a:endParaRPr 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1763689" y="2780928"/>
            <a:ext cx="5255816" cy="230425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800" dirty="0" smtClean="0">
                <a:effectLst/>
              </a:rPr>
              <a:t>„Vollständige“ Windows-IT-Landschaft </a:t>
            </a:r>
            <a:endParaRPr lang="de-DE" sz="1800" dirty="0">
              <a:effectLst/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1945037" y="3393160"/>
            <a:ext cx="1476000" cy="147600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800" dirty="0" smtClean="0">
                <a:effectLst/>
              </a:rPr>
              <a:t>.NET Framework</a:t>
            </a:r>
            <a:endParaRPr lang="de-DE" sz="1800" dirty="0">
              <a:effectLst/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3673229" y="3393160"/>
            <a:ext cx="1476000" cy="147600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800" dirty="0" smtClean="0">
                <a:effectLst/>
              </a:rPr>
              <a:t>WMI/CIM</a:t>
            </a:r>
            <a:endParaRPr lang="de-DE" sz="1800" dirty="0">
              <a:effectLst/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5401420" y="3393160"/>
            <a:ext cx="1476000" cy="147600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800" dirty="0" smtClean="0">
                <a:effectLst/>
              </a:rPr>
              <a:t>COM-Objects</a:t>
            </a:r>
            <a:endParaRPr lang="de-DE" sz="1800" dirty="0">
              <a:effectLst/>
            </a:endParaRPr>
          </a:p>
        </p:txBody>
      </p:sp>
      <p:sp>
        <p:nvSpPr>
          <p:cNvPr id="10" name="Gleichschenkliges Dreieck 9"/>
          <p:cNvSpPr/>
          <p:nvPr/>
        </p:nvSpPr>
        <p:spPr>
          <a:xfrm>
            <a:off x="1835696" y="1628800"/>
            <a:ext cx="5041723" cy="1080120"/>
          </a:xfrm>
          <a:prstGeom prst="triangl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de-DE" sz="1800" dirty="0">
              <a:effectLst/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3916663" y="2276872"/>
            <a:ext cx="1100324" cy="28803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err="1" smtClean="0">
                <a:effectLst/>
              </a:rPr>
              <a:t>Cmdlets</a:t>
            </a:r>
            <a:endParaRPr lang="de-DE" sz="1800" dirty="0">
              <a:effectLst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797576" y="1843315"/>
            <a:ext cx="1351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 smtClean="0">
                <a:solidFill>
                  <a:schemeClr val="tx1"/>
                </a:solidFill>
                <a:effectLst/>
              </a:rPr>
              <a:t>PowerShell</a:t>
            </a:r>
            <a:endParaRPr lang="de-DE" sz="1800" dirty="0">
              <a:solidFill>
                <a:schemeClr val="tx1"/>
              </a:solidFill>
              <a:effectLst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683568" y="5242911"/>
            <a:ext cx="295888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>
                <a:effectLst/>
                <a:sym typeface="Wingdings" pitchFamily="2" charset="2"/>
              </a:rPr>
              <a:t>Weitere</a:t>
            </a:r>
            <a:r>
              <a:rPr lang="de-DE" sz="1600" dirty="0" smtClean="0">
                <a:sym typeface="Wingdings" pitchFamily="2" charset="2"/>
              </a:rPr>
              <a:t> </a:t>
            </a:r>
            <a:r>
              <a:rPr lang="de-DE" sz="1600" dirty="0" smtClean="0">
                <a:effectLst/>
                <a:sym typeface="Wingdings" pitchFamily="2" charset="2"/>
              </a:rPr>
              <a:t>Abstraktionsschi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>
                <a:effectLst/>
                <a:sym typeface="Wingdings" pitchFamily="2" charset="2"/>
              </a:rPr>
              <a:t>K(l)eine Einstiegshürde</a:t>
            </a:r>
            <a:endParaRPr lang="de-DE" sz="1600" dirty="0">
              <a:effectLst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4675547" y="5157192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sz="1600" dirty="0">
                <a:effectLst/>
                <a:sym typeface="Wingdings" pitchFamily="2" charset="2"/>
              </a:rPr>
              <a:t>unübersichtliche, endlos</a:t>
            </a:r>
            <a:br>
              <a:rPr lang="de-DE" sz="1600" dirty="0">
                <a:effectLst/>
                <a:sym typeface="Wingdings" pitchFamily="2" charset="2"/>
              </a:rPr>
            </a:br>
            <a:r>
              <a:rPr lang="de-DE" sz="1600" dirty="0">
                <a:effectLst/>
                <a:sym typeface="Wingdings" pitchFamily="2" charset="2"/>
              </a:rPr>
              <a:t>lange Skript-Dateie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sz="1600" dirty="0">
                <a:effectLst/>
                <a:sym typeface="Wingdings" pitchFamily="2" charset="2"/>
              </a:rPr>
              <a:t>Schlechte Qualität und Wartbarkeit</a:t>
            </a:r>
            <a:endParaRPr lang="de-DE" sz="1600" dirty="0">
              <a:effectLst/>
            </a:endParaRPr>
          </a:p>
        </p:txBody>
      </p:sp>
      <p:sp>
        <p:nvSpPr>
          <p:cNvPr id="5" name="Pfeil nach links und rechts 4"/>
          <p:cNvSpPr/>
          <p:nvPr/>
        </p:nvSpPr>
        <p:spPr bwMode="auto">
          <a:xfrm>
            <a:off x="4020210" y="5427286"/>
            <a:ext cx="655337" cy="216024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/>
      <p:bldP spid="2" grpId="0"/>
      <p:bldP spid="3" grpId="0"/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11560" y="2276872"/>
            <a:ext cx="7772400" cy="1578099"/>
          </a:xfrm>
        </p:spPr>
        <p:txBody>
          <a:bodyPr/>
          <a:lstStyle/>
          <a:p>
            <a:r>
              <a:rPr lang="de-DE" dirty="0" smtClean="0"/>
              <a:t>PowerShell </a:t>
            </a:r>
            <a:r>
              <a:rPr lang="de-DE" dirty="0" err="1" smtClean="0"/>
              <a:t>goes</a:t>
            </a:r>
            <a:r>
              <a:rPr lang="de-DE" dirty="0" smtClean="0"/>
              <a:t> Software Engineering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Software Engineering in der reinen </a:t>
            </a:r>
            <a:r>
              <a:rPr lang="de-DE" sz="2800" dirty="0" smtClean="0"/>
              <a:t>Lehre</a:t>
            </a:r>
            <a:endParaRPr lang="de-DE" sz="28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408023"/>
              </p:ext>
            </p:extLst>
          </p:nvPr>
        </p:nvGraphicFramePr>
        <p:xfrm>
          <a:off x="248853" y="1980952"/>
          <a:ext cx="2592288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2751442" y="2023680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>
                <a:effectLst/>
              </a:rPr>
              <a:t>Lastenheft</a:t>
            </a:r>
            <a:endParaRPr lang="de-DE" sz="1800" dirty="0">
              <a:effectLst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771800" y="2784410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>
                <a:effectLst/>
              </a:rPr>
              <a:t>Pflichtenheft</a:t>
            </a:r>
            <a:endParaRPr lang="de-DE" sz="1800" dirty="0">
              <a:effectLst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2843808" y="3504490"/>
            <a:ext cx="5006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 smtClean="0">
                <a:effectLst/>
              </a:rPr>
              <a:t>Architektur und Spezifikation der Komponenten</a:t>
            </a:r>
          </a:p>
          <a:p>
            <a:endParaRPr lang="de-DE" sz="1800" dirty="0">
              <a:effectLst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843808" y="4303221"/>
            <a:ext cx="5006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 smtClean="0">
                <a:effectLst/>
              </a:rPr>
              <a:t>Dokumentierter Programmcode</a:t>
            </a:r>
          </a:p>
          <a:p>
            <a:endParaRPr lang="de-DE" sz="1800" dirty="0">
              <a:effectLst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2843808" y="5088666"/>
            <a:ext cx="5006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 smtClean="0">
                <a:effectLst/>
              </a:rPr>
              <a:t>Dokumentierte Testfälle</a:t>
            </a:r>
          </a:p>
          <a:p>
            <a:endParaRPr lang="de-DE" sz="1800" dirty="0">
              <a:effectLst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2843808" y="5734997"/>
            <a:ext cx="50064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 err="1" smtClean="0">
                <a:effectLst/>
              </a:rPr>
              <a:t>Deployment</a:t>
            </a:r>
            <a:endParaRPr lang="de-DE" sz="1800" dirty="0" smtClean="0">
              <a:effectLst/>
            </a:endParaRPr>
          </a:p>
          <a:p>
            <a:endParaRPr lang="de-DE" sz="18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69663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 smtClean="0"/>
              <a:t>Nice </a:t>
            </a:r>
            <a:r>
              <a:rPr lang="de-DE" sz="2800" dirty="0" err="1" smtClean="0"/>
              <a:t>try</a:t>
            </a:r>
            <a:r>
              <a:rPr lang="de-DE" sz="2800" dirty="0" smtClean="0"/>
              <a:t>, but…</a:t>
            </a:r>
            <a:endParaRPr lang="de-DE" sz="2800" dirty="0"/>
          </a:p>
        </p:txBody>
      </p:sp>
      <p:sp>
        <p:nvSpPr>
          <p:cNvPr id="16" name="Textfeld 15"/>
          <p:cNvSpPr txBox="1"/>
          <p:nvPr/>
        </p:nvSpPr>
        <p:spPr>
          <a:xfrm>
            <a:off x="1115616" y="3657798"/>
            <a:ext cx="7031153" cy="92333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1800" dirty="0" smtClean="0">
                <a:effectLst/>
              </a:rPr>
              <a:t>Software Engineering im PowerShell-Umfeld =! </a:t>
            </a:r>
            <a:br>
              <a:rPr lang="de-DE" sz="1800" dirty="0" smtClean="0">
                <a:effectLst/>
              </a:rPr>
            </a:br>
            <a:r>
              <a:rPr lang="de-DE" sz="1800" dirty="0" smtClean="0">
                <a:effectLst/>
              </a:rPr>
              <a:t>Striktes Vorgehensmodell mit vorgegebenen Methoden</a:t>
            </a:r>
          </a:p>
          <a:p>
            <a:endParaRPr lang="de-DE" sz="1800" dirty="0">
              <a:effectLst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115616" y="4809926"/>
            <a:ext cx="7031153" cy="92333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e-DE" sz="1800" dirty="0" smtClean="0">
                <a:effectLst/>
              </a:rPr>
              <a:t>Software Engineering im PowerShell-Umfeld = </a:t>
            </a:r>
          </a:p>
          <a:p>
            <a:r>
              <a:rPr lang="de-DE" sz="1800" dirty="0" smtClean="0">
                <a:effectLst/>
              </a:rPr>
              <a:t>Vorgehensratschläge und </a:t>
            </a:r>
            <a:r>
              <a:rPr lang="de-DE" sz="1800" dirty="0" err="1" smtClean="0">
                <a:effectLst/>
              </a:rPr>
              <a:t>assisted</a:t>
            </a:r>
            <a:r>
              <a:rPr lang="de-DE" sz="1800" dirty="0" smtClean="0">
                <a:effectLst/>
              </a:rPr>
              <a:t>/</a:t>
            </a:r>
            <a:r>
              <a:rPr lang="de-DE" sz="1800" dirty="0" err="1" smtClean="0">
                <a:effectLst/>
              </a:rPr>
              <a:t>Guided</a:t>
            </a:r>
            <a:r>
              <a:rPr lang="de-DE" sz="1800" dirty="0" smtClean="0">
                <a:effectLst/>
              </a:rPr>
              <a:t> Programming/Scripting</a:t>
            </a:r>
          </a:p>
          <a:p>
            <a:endParaRPr lang="de-DE" sz="1800" dirty="0">
              <a:effectLst/>
            </a:endParaRPr>
          </a:p>
        </p:txBody>
      </p:sp>
      <p:sp>
        <p:nvSpPr>
          <p:cNvPr id="18" name="Thumb up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735014" y="4869776"/>
            <a:ext cx="264805" cy="303213"/>
          </a:xfrm>
          <a:custGeom>
            <a:avLst/>
            <a:gdLst/>
            <a:ahLst/>
            <a:cxnLst>
              <a:cxn ang="0">
                <a:pos x="65" y="50"/>
              </a:cxn>
              <a:cxn ang="0">
                <a:pos x="59" y="44"/>
              </a:cxn>
              <a:cxn ang="0">
                <a:pos x="50" y="45"/>
              </a:cxn>
              <a:cxn ang="0">
                <a:pos x="50" y="45"/>
              </a:cxn>
              <a:cxn ang="0">
                <a:pos x="57" y="44"/>
              </a:cxn>
              <a:cxn ang="0">
                <a:pos x="61" y="38"/>
              </a:cxn>
              <a:cxn ang="0">
                <a:pos x="56" y="33"/>
              </a:cxn>
              <a:cxn ang="0">
                <a:pos x="33" y="35"/>
              </a:cxn>
              <a:cxn ang="0">
                <a:pos x="30" y="36"/>
              </a:cxn>
              <a:cxn ang="0">
                <a:pos x="31" y="17"/>
              </a:cxn>
              <a:cxn ang="0">
                <a:pos x="19" y="7"/>
              </a:cxn>
              <a:cxn ang="0">
                <a:pos x="18" y="23"/>
              </a:cxn>
              <a:cxn ang="0">
                <a:pos x="7" y="46"/>
              </a:cxn>
              <a:cxn ang="0">
                <a:pos x="0" y="49"/>
              </a:cxn>
              <a:cxn ang="0">
                <a:pos x="0" y="77"/>
              </a:cxn>
              <a:cxn ang="0">
                <a:pos x="26" y="81"/>
              </a:cxn>
              <a:cxn ang="0">
                <a:pos x="43" y="79"/>
              </a:cxn>
              <a:cxn ang="0">
                <a:pos x="57" y="78"/>
              </a:cxn>
              <a:cxn ang="0">
                <a:pos x="61" y="72"/>
              </a:cxn>
              <a:cxn ang="0">
                <a:pos x="57" y="67"/>
              </a:cxn>
              <a:cxn ang="0">
                <a:pos x="59" y="67"/>
              </a:cxn>
              <a:cxn ang="0">
                <a:pos x="63" y="61"/>
              </a:cxn>
              <a:cxn ang="0">
                <a:pos x="59" y="56"/>
              </a:cxn>
              <a:cxn ang="0">
                <a:pos x="60" y="56"/>
              </a:cxn>
              <a:cxn ang="0">
                <a:pos x="65" y="50"/>
              </a:cxn>
            </a:cxnLst>
            <a:rect l="0" t="0" r="r" b="b"/>
            <a:pathLst>
              <a:path w="65" h="81">
                <a:moveTo>
                  <a:pt x="65" y="50"/>
                </a:moveTo>
                <a:cubicBezTo>
                  <a:pt x="64" y="46"/>
                  <a:pt x="62" y="44"/>
                  <a:pt x="59" y="44"/>
                </a:cubicBezTo>
                <a:cubicBezTo>
                  <a:pt x="50" y="45"/>
                  <a:pt x="50" y="45"/>
                  <a:pt x="50" y="45"/>
                </a:cubicBezTo>
                <a:cubicBezTo>
                  <a:pt x="50" y="45"/>
                  <a:pt x="50" y="45"/>
                  <a:pt x="50" y="45"/>
                </a:cubicBezTo>
                <a:cubicBezTo>
                  <a:pt x="57" y="44"/>
                  <a:pt x="57" y="44"/>
                  <a:pt x="57" y="44"/>
                </a:cubicBezTo>
                <a:cubicBezTo>
                  <a:pt x="60" y="44"/>
                  <a:pt x="62" y="41"/>
                  <a:pt x="61" y="38"/>
                </a:cubicBezTo>
                <a:cubicBezTo>
                  <a:pt x="61" y="35"/>
                  <a:pt x="58" y="33"/>
                  <a:pt x="56" y="33"/>
                </a:cubicBezTo>
                <a:cubicBezTo>
                  <a:pt x="33" y="35"/>
                  <a:pt x="33" y="35"/>
                  <a:pt x="33" y="35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5" y="33"/>
                  <a:pt x="31" y="17"/>
                </a:cubicBezTo>
                <a:cubicBezTo>
                  <a:pt x="28" y="0"/>
                  <a:pt x="19" y="7"/>
                  <a:pt x="19" y="7"/>
                </a:cubicBezTo>
                <a:cubicBezTo>
                  <a:pt x="19" y="7"/>
                  <a:pt x="18" y="21"/>
                  <a:pt x="18" y="23"/>
                </a:cubicBezTo>
                <a:cubicBezTo>
                  <a:pt x="17" y="25"/>
                  <a:pt x="7" y="46"/>
                  <a:pt x="7" y="46"/>
                </a:cubicBezTo>
                <a:cubicBezTo>
                  <a:pt x="7" y="47"/>
                  <a:pt x="0" y="48"/>
                  <a:pt x="0" y="49"/>
                </a:cubicBezTo>
                <a:cubicBezTo>
                  <a:pt x="0" y="59"/>
                  <a:pt x="0" y="67"/>
                  <a:pt x="0" y="77"/>
                </a:cubicBezTo>
                <a:cubicBezTo>
                  <a:pt x="7" y="75"/>
                  <a:pt x="11" y="81"/>
                  <a:pt x="26" y="81"/>
                </a:cubicBezTo>
                <a:cubicBezTo>
                  <a:pt x="31" y="81"/>
                  <a:pt x="38" y="80"/>
                  <a:pt x="43" y="79"/>
                </a:cubicBezTo>
                <a:cubicBezTo>
                  <a:pt x="57" y="78"/>
                  <a:pt x="57" y="78"/>
                  <a:pt x="57" y="78"/>
                </a:cubicBezTo>
                <a:cubicBezTo>
                  <a:pt x="59" y="78"/>
                  <a:pt x="61" y="75"/>
                  <a:pt x="61" y="72"/>
                </a:cubicBezTo>
                <a:cubicBezTo>
                  <a:pt x="60" y="70"/>
                  <a:pt x="59" y="68"/>
                  <a:pt x="57" y="67"/>
                </a:cubicBezTo>
                <a:cubicBezTo>
                  <a:pt x="59" y="67"/>
                  <a:pt x="59" y="67"/>
                  <a:pt x="59" y="67"/>
                </a:cubicBezTo>
                <a:cubicBezTo>
                  <a:pt x="62" y="67"/>
                  <a:pt x="64" y="64"/>
                  <a:pt x="63" y="61"/>
                </a:cubicBezTo>
                <a:cubicBezTo>
                  <a:pt x="63" y="58"/>
                  <a:pt x="61" y="56"/>
                  <a:pt x="59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63" y="55"/>
                  <a:pt x="65" y="53"/>
                  <a:pt x="65" y="50"/>
                </a:cubicBezTo>
                <a:close/>
              </a:path>
            </a:pathLst>
          </a:cu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800" dirty="0"/>
          </a:p>
        </p:txBody>
      </p:sp>
      <p:sp>
        <p:nvSpPr>
          <p:cNvPr id="19" name="Thumb down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7668344" y="3873822"/>
            <a:ext cx="288879" cy="315913"/>
          </a:xfrm>
          <a:custGeom>
            <a:avLst/>
            <a:gdLst/>
            <a:ahLst/>
            <a:cxnLst>
              <a:cxn ang="0">
                <a:pos x="71" y="37"/>
              </a:cxn>
              <a:cxn ang="0">
                <a:pos x="65" y="33"/>
              </a:cxn>
              <a:cxn ang="0">
                <a:pos x="58" y="34"/>
              </a:cxn>
              <a:cxn ang="0">
                <a:pos x="58" y="34"/>
              </a:cxn>
              <a:cxn ang="0">
                <a:pos x="66" y="32"/>
              </a:cxn>
              <a:cxn ang="0">
                <a:pos x="70" y="25"/>
              </a:cxn>
              <a:cxn ang="0">
                <a:pos x="64" y="21"/>
              </a:cxn>
              <a:cxn ang="0">
                <a:pos x="63" y="21"/>
              </a:cxn>
              <a:cxn ang="0">
                <a:pos x="66" y="15"/>
              </a:cxn>
              <a:cxn ang="0">
                <a:pos x="59" y="11"/>
              </a:cxn>
              <a:cxn ang="0">
                <a:pos x="58" y="11"/>
              </a:cxn>
              <a:cxn ang="0">
                <a:pos x="59" y="5"/>
              </a:cxn>
              <a:cxn ang="0">
                <a:pos x="54" y="1"/>
              </a:cxn>
              <a:cxn ang="0">
                <a:pos x="40" y="4"/>
              </a:cxn>
              <a:cxn ang="0">
                <a:pos x="24" y="8"/>
              </a:cxn>
              <a:cxn ang="0">
                <a:pos x="0" y="20"/>
              </a:cxn>
              <a:cxn ang="0">
                <a:pos x="1" y="46"/>
              </a:cxn>
              <a:cxn ang="0">
                <a:pos x="16" y="47"/>
              </a:cxn>
              <a:cxn ang="0">
                <a:pos x="35" y="66"/>
              </a:cxn>
              <a:cxn ang="0">
                <a:pos x="41" y="81"/>
              </a:cxn>
              <a:cxn ang="0">
                <a:pos x="49" y="67"/>
              </a:cxn>
              <a:cxn ang="0">
                <a:pos x="42" y="50"/>
              </a:cxn>
              <a:cxn ang="0">
                <a:pos x="45" y="49"/>
              </a:cxn>
              <a:cxn ang="0">
                <a:pos x="67" y="44"/>
              </a:cxn>
              <a:cxn ang="0">
                <a:pos x="71" y="37"/>
              </a:cxn>
            </a:cxnLst>
            <a:rect l="0" t="0" r="r" b="b"/>
            <a:pathLst>
              <a:path w="71" h="84">
                <a:moveTo>
                  <a:pt x="71" y="37"/>
                </a:moveTo>
                <a:cubicBezTo>
                  <a:pt x="70" y="34"/>
                  <a:pt x="67" y="32"/>
                  <a:pt x="65" y="33"/>
                </a:cubicBezTo>
                <a:cubicBezTo>
                  <a:pt x="58" y="34"/>
                  <a:pt x="58" y="34"/>
                  <a:pt x="58" y="34"/>
                </a:cubicBezTo>
                <a:cubicBezTo>
                  <a:pt x="58" y="34"/>
                  <a:pt x="58" y="34"/>
                  <a:pt x="58" y="34"/>
                </a:cubicBezTo>
                <a:cubicBezTo>
                  <a:pt x="66" y="32"/>
                  <a:pt x="66" y="32"/>
                  <a:pt x="66" y="32"/>
                </a:cubicBezTo>
                <a:cubicBezTo>
                  <a:pt x="69" y="31"/>
                  <a:pt x="71" y="28"/>
                  <a:pt x="70" y="25"/>
                </a:cubicBezTo>
                <a:cubicBezTo>
                  <a:pt x="70" y="22"/>
                  <a:pt x="67" y="20"/>
                  <a:pt x="64" y="21"/>
                </a:cubicBezTo>
                <a:cubicBezTo>
                  <a:pt x="63" y="21"/>
                  <a:pt x="63" y="21"/>
                  <a:pt x="63" y="21"/>
                </a:cubicBezTo>
                <a:cubicBezTo>
                  <a:pt x="65" y="20"/>
                  <a:pt x="66" y="18"/>
                  <a:pt x="66" y="15"/>
                </a:cubicBezTo>
                <a:cubicBezTo>
                  <a:pt x="65" y="12"/>
                  <a:pt x="62" y="10"/>
                  <a:pt x="59" y="11"/>
                </a:cubicBezTo>
                <a:cubicBezTo>
                  <a:pt x="58" y="11"/>
                  <a:pt x="58" y="11"/>
                  <a:pt x="58" y="11"/>
                </a:cubicBezTo>
                <a:cubicBezTo>
                  <a:pt x="59" y="10"/>
                  <a:pt x="60" y="8"/>
                  <a:pt x="59" y="5"/>
                </a:cubicBezTo>
                <a:cubicBezTo>
                  <a:pt x="59" y="2"/>
                  <a:pt x="56" y="0"/>
                  <a:pt x="54" y="1"/>
                </a:cubicBezTo>
                <a:cubicBezTo>
                  <a:pt x="40" y="4"/>
                  <a:pt x="40" y="4"/>
                  <a:pt x="40" y="4"/>
                </a:cubicBezTo>
                <a:cubicBezTo>
                  <a:pt x="35" y="5"/>
                  <a:pt x="29" y="6"/>
                  <a:pt x="24" y="8"/>
                </a:cubicBezTo>
                <a:cubicBezTo>
                  <a:pt x="9" y="13"/>
                  <a:pt x="7" y="19"/>
                  <a:pt x="0" y="20"/>
                </a:cubicBezTo>
                <a:cubicBezTo>
                  <a:pt x="0" y="32"/>
                  <a:pt x="0" y="36"/>
                  <a:pt x="1" y="46"/>
                </a:cubicBezTo>
                <a:cubicBezTo>
                  <a:pt x="1" y="48"/>
                  <a:pt x="16" y="46"/>
                  <a:pt x="16" y="47"/>
                </a:cubicBezTo>
                <a:cubicBezTo>
                  <a:pt x="16" y="47"/>
                  <a:pt x="34" y="64"/>
                  <a:pt x="35" y="66"/>
                </a:cubicBezTo>
                <a:cubicBezTo>
                  <a:pt x="36" y="67"/>
                  <a:pt x="41" y="81"/>
                  <a:pt x="41" y="81"/>
                </a:cubicBezTo>
                <a:cubicBezTo>
                  <a:pt x="41" y="81"/>
                  <a:pt x="51" y="84"/>
                  <a:pt x="49" y="67"/>
                </a:cubicBezTo>
                <a:cubicBezTo>
                  <a:pt x="47" y="50"/>
                  <a:pt x="42" y="50"/>
                  <a:pt x="42" y="50"/>
                </a:cubicBezTo>
                <a:cubicBezTo>
                  <a:pt x="45" y="49"/>
                  <a:pt x="45" y="49"/>
                  <a:pt x="45" y="49"/>
                </a:cubicBezTo>
                <a:cubicBezTo>
                  <a:pt x="67" y="44"/>
                  <a:pt x="67" y="44"/>
                  <a:pt x="67" y="44"/>
                </a:cubicBezTo>
                <a:cubicBezTo>
                  <a:pt x="70" y="43"/>
                  <a:pt x="71" y="40"/>
                  <a:pt x="71" y="37"/>
                </a:cubicBezTo>
                <a:close/>
              </a:path>
            </a:pathLst>
          </a:cu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800" dirty="0"/>
          </a:p>
        </p:txBody>
      </p:sp>
      <p:sp>
        <p:nvSpPr>
          <p:cNvPr id="20" name="Inhaltsplatzhalter 1"/>
          <p:cNvSpPr>
            <a:spLocks noGrp="1"/>
          </p:cNvSpPr>
          <p:nvPr>
            <p:ph idx="1"/>
          </p:nvPr>
        </p:nvSpPr>
        <p:spPr>
          <a:xfrm>
            <a:off x="469609" y="2132856"/>
            <a:ext cx="8204781" cy="1296144"/>
          </a:xfrm>
        </p:spPr>
        <p:txBody>
          <a:bodyPr/>
          <a:lstStyle/>
          <a:p>
            <a:r>
              <a:rPr lang="de-DE" sz="1800" dirty="0" smtClean="0">
                <a:effectLst/>
              </a:rPr>
              <a:t>PowerShell ist und sollte die schnelle einfache Lösung zur automatisierten Administration bleiben</a:t>
            </a:r>
          </a:p>
          <a:p>
            <a:r>
              <a:rPr lang="de-DE" sz="1800" dirty="0" smtClean="0">
                <a:effectLst/>
                <a:sym typeface="Wingdings" pitchFamily="2" charset="2"/>
              </a:rPr>
              <a:t> Einstiegshürde weiter niedrig halten ( kein Mehraufwand)</a:t>
            </a:r>
            <a:endParaRPr lang="de-DE" sz="18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7926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d6337cb-7b8d-4871-80f3-80c62a151593"/>
  <p:tag name="MIO_EK" val="3240"/>
  <p:tag name="MIO_UPDATE" val="True"/>
  <p:tag name="MIO_VERSION" val="15.07.2015 18:14:59"/>
  <p:tag name="MIO_DBID" val="54B27739-259A-4B6D-85E6-2A416AF8768C"/>
  <p:tag name="MIO_LASTDOWNLOADED" val="19.10.2015 14:53:09"/>
  <p:tag name="MIO_OBJECTNAME" val="Daumen hoch"/>
  <p:tag name="MIO_LASTEDITORNAME" val="(Sandra Spiess)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e1d7f1a-b991-4e3a-b466-897bb17a605e"/>
  <p:tag name="MIO_EK" val="3241"/>
  <p:tag name="MIO_UPDATE" val="True"/>
  <p:tag name="MIO_VERSION" val="15.07.2015 18:15:00"/>
  <p:tag name="MIO_DBID" val="54B27739-259A-4B6D-85E6-2A416AF8768C"/>
  <p:tag name="MIO_LASTDOWNLOADED" val="19.10.2015 14:53:10"/>
  <p:tag name="MIO_OBJECTNAME" val="Daumen runter"/>
  <p:tag name="MIO_LASTEDITORNAME" val="(Sandra Spiess)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e02799b-2b41-4fed-94d1-6e03ada63e70"/>
  <p:tag name="MIO_EK" val="8145"/>
  <p:tag name="MIO_UPDATE" val="True"/>
  <p:tag name="MIO_VERSION" val="11.08.2015 10:38:13"/>
  <p:tag name="MIO_DBID" val="54B27739-259A-4B6D-85E6-2A416AF8768C"/>
  <p:tag name="MIO_LASTDOWNLOADED" val="19.10.2015 07:46:27"/>
  <p:tag name="MIO_OBJECTNAME" val="Inhalt mit Bild"/>
  <p:tag name="MIO_LASTEDITORNAME" val="Sandra Spiess"/>
  <p:tag name="MIO_EK_DESIGN" val="10760"/>
  <p:tag name="MIO_VERSION_DESIGN" val="19.10.2015 08:26:30"/>
  <p:tag name="MIO_DBID_DESIGN" val="54B27739-259A-4B6D-85E6-2A416AF8768C"/>
</p:tagLst>
</file>

<file path=ppt/theme/theme1.xml><?xml version="1.0" encoding="utf-8"?>
<a:theme xmlns:a="http://schemas.openxmlformats.org/drawingml/2006/main" name="www.IT-Visions.de">
  <a:themeElements>
    <a:clrScheme name="www.IT-Visions.d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0070C0"/>
      </a:hlink>
      <a:folHlink>
        <a:srgbClr val="B2B2B2"/>
      </a:folHlink>
    </a:clrScheme>
    <a:fontScheme name="Präsentation IT-Objects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bg1"/>
            </a:solidFill>
            <a:effectDag name="">
              <a:cont type="tree" name="">
                <a:effect ref="fillLine"/>
                <a:outerShdw dist="38100" dir="13500000" algn="br">
                  <a:schemeClr val="bg1">
                    <a:lumMod val="200000"/>
                    <a:satMod val="200000"/>
                  </a:schemeClr>
                </a:outerShdw>
              </a:cont>
              <a:cont type="tree" name="">
                <a:effect ref="fillLine"/>
                <a:outerShdw dist="38100" dir="2700000" algn="tl">
                  <a:schemeClr val="bg1">
                    <a:lumMod val="60000"/>
                    <a:satMod val="60000"/>
                  </a:schemeClr>
                </a:outerShdw>
              </a:cont>
              <a:effect ref="fillLine"/>
            </a:effectDag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bg1"/>
            </a:solidFill>
            <a:effectDag name="">
              <a:cont type="tree" name="">
                <a:effect ref="fillLine"/>
                <a:outerShdw dist="38100" dir="13500000" algn="br">
                  <a:schemeClr val="bg1">
                    <a:lumMod val="200000"/>
                    <a:satMod val="200000"/>
                  </a:schemeClr>
                </a:outerShdw>
              </a:cont>
              <a:cont type="tree" name="">
                <a:effect ref="fillLine"/>
                <a:outerShdw dist="38100" dir="2700000" algn="tl">
                  <a:schemeClr val="bg1">
                    <a:lumMod val="60000"/>
                    <a:satMod val="60000"/>
                  </a:schemeClr>
                </a:outerShdw>
              </a:cont>
              <a:effect ref="fillLine"/>
            </a:effectDag>
            <a:latin typeface="Tahoma" pitchFamily="34" charset="0"/>
          </a:defRPr>
        </a:defPPr>
      </a:lstStyle>
    </a:lnDef>
  </a:objectDefaults>
  <a:extraClrSchemeLst>
    <a:extraClrScheme>
      <a:clrScheme name="Präsentation IT-Objec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T-Object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IT-Object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T-Object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T-Object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T-Object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IT-Object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TV</Template>
  <TotalTime>0</TotalTime>
  <Words>453</Words>
  <Application>Microsoft Office PowerPoint</Application>
  <PresentationFormat>Bildschirmpräsentation (4:3)</PresentationFormat>
  <Paragraphs>149</Paragraphs>
  <Slides>20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20</vt:i4>
      </vt:variant>
    </vt:vector>
  </HeadingPairs>
  <TitlesOfParts>
    <vt:vector size="29" baseType="lpstr">
      <vt:lpstr>Arial</vt:lpstr>
      <vt:lpstr>Roboto</vt:lpstr>
      <vt:lpstr>Roboto Black</vt:lpstr>
      <vt:lpstr>Roboto Condensed</vt:lpstr>
      <vt:lpstr>Tahoma</vt:lpstr>
      <vt:lpstr>Ubuntu Mono</vt:lpstr>
      <vt:lpstr>Wingdings</vt:lpstr>
      <vt:lpstr>www.IT-Visions.de</vt:lpstr>
      <vt:lpstr>Custom Design</vt:lpstr>
      <vt:lpstr>PowerShell goes  Software Engineering</vt:lpstr>
      <vt:lpstr>Agenda</vt:lpstr>
      <vt:lpstr>Einordnung</vt:lpstr>
      <vt:lpstr>Einordnung</vt:lpstr>
      <vt:lpstr>Hintergrund</vt:lpstr>
      <vt:lpstr>PowerShell – Fluch und Segen</vt:lpstr>
      <vt:lpstr>PowerShell goes Software Engineering </vt:lpstr>
      <vt:lpstr>Software Engineering in der reinen Lehre</vt:lpstr>
      <vt:lpstr>Nice try, but…</vt:lpstr>
      <vt:lpstr>Was heißt das nun?</vt:lpstr>
      <vt:lpstr>Was heißt das nun?</vt:lpstr>
      <vt:lpstr>Was heißt das nun?</vt:lpstr>
      <vt:lpstr>Was heißt das nun?</vt:lpstr>
      <vt:lpstr>Struktur</vt:lpstr>
      <vt:lpstr>Was heißt das nun?</vt:lpstr>
      <vt:lpstr>Demo...</vt:lpstr>
      <vt:lpstr>Summary</vt:lpstr>
      <vt:lpstr>Fragen? Feedback Diskussion</vt:lpstr>
      <vt:lpstr>Jan Lindmeier (* 22.05.1992)</vt:lpstr>
      <vt:lpstr>Next Steps...</vt:lpstr>
    </vt:vector>
  </TitlesOfParts>
  <Manager>Dr. Tobias Weltner</Manager>
  <Company>www.powershell.d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ma Untertitel</dc:title>
  <dc:subject>PowerShell Konferenz</dc:subject>
  <dc:creator>Dr. Tobias Weltner</dc:creator>
  <dc:description>(C) Dr. Tobias Weltner</dc:description>
  <cp:lastModifiedBy>xgadlnd</cp:lastModifiedBy>
  <cp:revision>183</cp:revision>
  <dcterms:created xsi:type="dcterms:W3CDTF">2007-07-20T07:41:41Z</dcterms:created>
  <dcterms:modified xsi:type="dcterms:W3CDTF">2016-04-25T11:5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igentümer">
    <vt:lpwstr>www.IT-Visions.de</vt:lpwstr>
  </property>
  <property fmtid="{D5CDD505-2E9C-101B-9397-08002B2CF9AE}" pid="3" name="Gegenstand">
    <vt:lpwstr>www.IT-Visions.de</vt:lpwstr>
  </property>
  <property fmtid="{D5CDD505-2E9C-101B-9397-08002B2CF9AE}" pid="4" name="Erstellt von">
    <vt:lpwstr>www.IT-Visions.de</vt:lpwstr>
  </property>
  <property fmtid="{D5CDD505-2E9C-101B-9397-08002B2CF9AE}" pid="5" name="Abteilung">
    <vt:lpwstr>www.IT-Visions.de</vt:lpwstr>
  </property>
  <property fmtid="{D5CDD505-2E9C-101B-9397-08002B2CF9AE}" pid="6" name="Kunde">
    <vt:lpwstr>www.IT-Visions.de</vt:lpwstr>
  </property>
  <property fmtid="{D5CDD505-2E9C-101B-9397-08002B2CF9AE}" pid="7" name="Verleger">
    <vt:lpwstr>www.IT-Visions.de</vt:lpwstr>
  </property>
</Properties>
</file>